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sldIdLst>
    <p:sldId id="256" r:id="rId5"/>
  </p:sldIdLst>
  <p:sldSz cx="30275213" cy="21383625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7F20"/>
    <a:srgbClr val="376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70" autoAdjust="0"/>
    <p:restoredTop sz="94660"/>
  </p:normalViewPr>
  <p:slideViewPr>
    <p:cSldViewPr snapToGrid="0">
      <p:cViewPr varScale="1">
        <p:scale>
          <a:sx n="16" d="100"/>
          <a:sy n="16" d="100"/>
        </p:scale>
        <p:origin x="173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70641" y="3499590"/>
            <a:ext cx="25733931" cy="7444669"/>
          </a:xfrm>
        </p:spPr>
        <p:txBody>
          <a:bodyPr anchor="b"/>
          <a:lstStyle>
            <a:lvl1pPr algn="ctr">
              <a:defRPr sz="1870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84402" y="11231355"/>
            <a:ext cx="22706410" cy="5162758"/>
          </a:xfrm>
        </p:spPr>
        <p:txBody>
          <a:bodyPr/>
          <a:lstStyle>
            <a:lvl1pPr marL="0" indent="0" algn="ctr">
              <a:buNone/>
              <a:defRPr sz="7483"/>
            </a:lvl1pPr>
            <a:lvl2pPr marL="1425595" indent="0" algn="ctr">
              <a:buNone/>
              <a:defRPr sz="6236"/>
            </a:lvl2pPr>
            <a:lvl3pPr marL="2851191" indent="0" algn="ctr">
              <a:buNone/>
              <a:defRPr sz="5613"/>
            </a:lvl3pPr>
            <a:lvl4pPr marL="4276786" indent="0" algn="ctr">
              <a:buNone/>
              <a:defRPr sz="4989"/>
            </a:lvl4pPr>
            <a:lvl5pPr marL="5702381" indent="0" algn="ctr">
              <a:buNone/>
              <a:defRPr sz="4989"/>
            </a:lvl5pPr>
            <a:lvl6pPr marL="7127977" indent="0" algn="ctr">
              <a:buNone/>
              <a:defRPr sz="4989"/>
            </a:lvl6pPr>
            <a:lvl7pPr marL="8553572" indent="0" algn="ctr">
              <a:buNone/>
              <a:defRPr sz="4989"/>
            </a:lvl7pPr>
            <a:lvl8pPr marL="9979167" indent="0" algn="ctr">
              <a:buNone/>
              <a:defRPr sz="4989"/>
            </a:lvl8pPr>
            <a:lvl9pPr marL="11404763" indent="0" algn="ctr">
              <a:buNone/>
              <a:defRPr sz="498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367719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5470028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1665701" y="1138480"/>
            <a:ext cx="6528093" cy="1812163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81423" y="1138480"/>
            <a:ext cx="19205838" cy="1812163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663617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106281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5654" y="5331063"/>
            <a:ext cx="26112371" cy="8894992"/>
          </a:xfrm>
        </p:spPr>
        <p:txBody>
          <a:bodyPr anchor="b"/>
          <a:lstStyle>
            <a:lvl1pPr>
              <a:defRPr sz="1870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65654" y="14310205"/>
            <a:ext cx="26112371" cy="4677666"/>
          </a:xfrm>
        </p:spPr>
        <p:txBody>
          <a:bodyPr/>
          <a:lstStyle>
            <a:lvl1pPr marL="0" indent="0">
              <a:buNone/>
              <a:defRPr sz="7483">
                <a:solidFill>
                  <a:schemeClr val="tx1"/>
                </a:solidFill>
              </a:defRPr>
            </a:lvl1pPr>
            <a:lvl2pPr marL="1425595" indent="0">
              <a:buNone/>
              <a:defRPr sz="6236">
                <a:solidFill>
                  <a:schemeClr val="tx1">
                    <a:tint val="75000"/>
                  </a:schemeClr>
                </a:solidFill>
              </a:defRPr>
            </a:lvl2pPr>
            <a:lvl3pPr marL="2851191" indent="0">
              <a:buNone/>
              <a:defRPr sz="5613">
                <a:solidFill>
                  <a:schemeClr val="tx1">
                    <a:tint val="75000"/>
                  </a:schemeClr>
                </a:solidFill>
              </a:defRPr>
            </a:lvl3pPr>
            <a:lvl4pPr marL="4276786" indent="0">
              <a:buNone/>
              <a:defRPr sz="4989">
                <a:solidFill>
                  <a:schemeClr val="tx1">
                    <a:tint val="75000"/>
                  </a:schemeClr>
                </a:solidFill>
              </a:defRPr>
            </a:lvl4pPr>
            <a:lvl5pPr marL="5702381" indent="0">
              <a:buNone/>
              <a:defRPr sz="4989">
                <a:solidFill>
                  <a:schemeClr val="tx1">
                    <a:tint val="75000"/>
                  </a:schemeClr>
                </a:solidFill>
              </a:defRPr>
            </a:lvl5pPr>
            <a:lvl6pPr marL="7127977" indent="0">
              <a:buNone/>
              <a:defRPr sz="4989">
                <a:solidFill>
                  <a:schemeClr val="tx1">
                    <a:tint val="75000"/>
                  </a:schemeClr>
                </a:solidFill>
              </a:defRPr>
            </a:lvl6pPr>
            <a:lvl7pPr marL="8553572" indent="0">
              <a:buNone/>
              <a:defRPr sz="4989">
                <a:solidFill>
                  <a:schemeClr val="tx1">
                    <a:tint val="75000"/>
                  </a:schemeClr>
                </a:solidFill>
              </a:defRPr>
            </a:lvl7pPr>
            <a:lvl8pPr marL="9979167" indent="0">
              <a:buNone/>
              <a:defRPr sz="4989">
                <a:solidFill>
                  <a:schemeClr val="tx1">
                    <a:tint val="75000"/>
                  </a:schemeClr>
                </a:solidFill>
              </a:defRPr>
            </a:lvl8pPr>
            <a:lvl9pPr marL="11404763" indent="0">
              <a:buNone/>
              <a:defRPr sz="498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8984408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81421" y="5692400"/>
            <a:ext cx="12866966" cy="13567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326826" y="5692400"/>
            <a:ext cx="12866966" cy="13567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6856640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364" y="1138485"/>
            <a:ext cx="26112371" cy="41331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85368" y="5241960"/>
            <a:ext cx="12807832" cy="2569003"/>
          </a:xfrm>
        </p:spPr>
        <p:txBody>
          <a:bodyPr anchor="b"/>
          <a:lstStyle>
            <a:lvl1pPr marL="0" indent="0">
              <a:buNone/>
              <a:defRPr sz="7483" b="1"/>
            </a:lvl1pPr>
            <a:lvl2pPr marL="1425595" indent="0">
              <a:buNone/>
              <a:defRPr sz="6236" b="1"/>
            </a:lvl2pPr>
            <a:lvl3pPr marL="2851191" indent="0">
              <a:buNone/>
              <a:defRPr sz="5613" b="1"/>
            </a:lvl3pPr>
            <a:lvl4pPr marL="4276786" indent="0">
              <a:buNone/>
              <a:defRPr sz="4989" b="1"/>
            </a:lvl4pPr>
            <a:lvl5pPr marL="5702381" indent="0">
              <a:buNone/>
              <a:defRPr sz="4989" b="1"/>
            </a:lvl5pPr>
            <a:lvl6pPr marL="7127977" indent="0">
              <a:buNone/>
              <a:defRPr sz="4989" b="1"/>
            </a:lvl6pPr>
            <a:lvl7pPr marL="8553572" indent="0">
              <a:buNone/>
              <a:defRPr sz="4989" b="1"/>
            </a:lvl7pPr>
            <a:lvl8pPr marL="9979167" indent="0">
              <a:buNone/>
              <a:defRPr sz="4989" b="1"/>
            </a:lvl8pPr>
            <a:lvl9pPr marL="11404763" indent="0">
              <a:buNone/>
              <a:defRPr sz="498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085368" y="7810963"/>
            <a:ext cx="12807832" cy="11488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326828" y="5241960"/>
            <a:ext cx="12870909" cy="2569003"/>
          </a:xfrm>
        </p:spPr>
        <p:txBody>
          <a:bodyPr anchor="b"/>
          <a:lstStyle>
            <a:lvl1pPr marL="0" indent="0">
              <a:buNone/>
              <a:defRPr sz="7483" b="1"/>
            </a:lvl1pPr>
            <a:lvl2pPr marL="1425595" indent="0">
              <a:buNone/>
              <a:defRPr sz="6236" b="1"/>
            </a:lvl2pPr>
            <a:lvl3pPr marL="2851191" indent="0">
              <a:buNone/>
              <a:defRPr sz="5613" b="1"/>
            </a:lvl3pPr>
            <a:lvl4pPr marL="4276786" indent="0">
              <a:buNone/>
              <a:defRPr sz="4989" b="1"/>
            </a:lvl4pPr>
            <a:lvl5pPr marL="5702381" indent="0">
              <a:buNone/>
              <a:defRPr sz="4989" b="1"/>
            </a:lvl5pPr>
            <a:lvl6pPr marL="7127977" indent="0">
              <a:buNone/>
              <a:defRPr sz="4989" b="1"/>
            </a:lvl6pPr>
            <a:lvl7pPr marL="8553572" indent="0">
              <a:buNone/>
              <a:defRPr sz="4989" b="1"/>
            </a:lvl7pPr>
            <a:lvl8pPr marL="9979167" indent="0">
              <a:buNone/>
              <a:defRPr sz="4989" b="1"/>
            </a:lvl8pPr>
            <a:lvl9pPr marL="11404763" indent="0">
              <a:buNone/>
              <a:defRPr sz="498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326828" y="7810963"/>
            <a:ext cx="12870909" cy="11488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313230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999478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719646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364" y="1425575"/>
            <a:ext cx="9764544" cy="4989513"/>
          </a:xfrm>
        </p:spPr>
        <p:txBody>
          <a:bodyPr anchor="b"/>
          <a:lstStyle>
            <a:lvl1pPr>
              <a:defRPr sz="997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909" y="3078850"/>
            <a:ext cx="15326827" cy="15196234"/>
          </a:xfrm>
        </p:spPr>
        <p:txBody>
          <a:bodyPr/>
          <a:lstStyle>
            <a:lvl1pPr>
              <a:defRPr sz="9978"/>
            </a:lvl1pPr>
            <a:lvl2pPr>
              <a:defRPr sz="8731"/>
            </a:lvl2pPr>
            <a:lvl3pPr>
              <a:defRPr sz="7483"/>
            </a:lvl3pPr>
            <a:lvl4pPr>
              <a:defRPr sz="6236"/>
            </a:lvl4pPr>
            <a:lvl5pPr>
              <a:defRPr sz="6236"/>
            </a:lvl5pPr>
            <a:lvl6pPr>
              <a:defRPr sz="6236"/>
            </a:lvl6pPr>
            <a:lvl7pPr>
              <a:defRPr sz="6236"/>
            </a:lvl7pPr>
            <a:lvl8pPr>
              <a:defRPr sz="6236"/>
            </a:lvl8pPr>
            <a:lvl9pPr>
              <a:defRPr sz="62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85364" y="6415088"/>
            <a:ext cx="9764544" cy="11884743"/>
          </a:xfrm>
        </p:spPr>
        <p:txBody>
          <a:bodyPr/>
          <a:lstStyle>
            <a:lvl1pPr marL="0" indent="0">
              <a:buNone/>
              <a:defRPr sz="4989"/>
            </a:lvl1pPr>
            <a:lvl2pPr marL="1425595" indent="0">
              <a:buNone/>
              <a:defRPr sz="4365"/>
            </a:lvl2pPr>
            <a:lvl3pPr marL="2851191" indent="0">
              <a:buNone/>
              <a:defRPr sz="3742"/>
            </a:lvl3pPr>
            <a:lvl4pPr marL="4276786" indent="0">
              <a:buNone/>
              <a:defRPr sz="3118"/>
            </a:lvl4pPr>
            <a:lvl5pPr marL="5702381" indent="0">
              <a:buNone/>
              <a:defRPr sz="3118"/>
            </a:lvl5pPr>
            <a:lvl6pPr marL="7127977" indent="0">
              <a:buNone/>
              <a:defRPr sz="3118"/>
            </a:lvl6pPr>
            <a:lvl7pPr marL="8553572" indent="0">
              <a:buNone/>
              <a:defRPr sz="3118"/>
            </a:lvl7pPr>
            <a:lvl8pPr marL="9979167" indent="0">
              <a:buNone/>
              <a:defRPr sz="3118"/>
            </a:lvl8pPr>
            <a:lvl9pPr marL="11404763" indent="0">
              <a:buNone/>
              <a:defRPr sz="311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166570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364" y="1425575"/>
            <a:ext cx="9764544" cy="4989513"/>
          </a:xfrm>
        </p:spPr>
        <p:txBody>
          <a:bodyPr anchor="b"/>
          <a:lstStyle>
            <a:lvl1pPr>
              <a:defRPr sz="997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870909" y="3078850"/>
            <a:ext cx="15326827" cy="15196234"/>
          </a:xfrm>
        </p:spPr>
        <p:txBody>
          <a:bodyPr anchor="t"/>
          <a:lstStyle>
            <a:lvl1pPr marL="0" indent="0">
              <a:buNone/>
              <a:defRPr sz="9978"/>
            </a:lvl1pPr>
            <a:lvl2pPr marL="1425595" indent="0">
              <a:buNone/>
              <a:defRPr sz="8731"/>
            </a:lvl2pPr>
            <a:lvl3pPr marL="2851191" indent="0">
              <a:buNone/>
              <a:defRPr sz="7483"/>
            </a:lvl3pPr>
            <a:lvl4pPr marL="4276786" indent="0">
              <a:buNone/>
              <a:defRPr sz="6236"/>
            </a:lvl4pPr>
            <a:lvl5pPr marL="5702381" indent="0">
              <a:buNone/>
              <a:defRPr sz="6236"/>
            </a:lvl5pPr>
            <a:lvl6pPr marL="7127977" indent="0">
              <a:buNone/>
              <a:defRPr sz="6236"/>
            </a:lvl6pPr>
            <a:lvl7pPr marL="8553572" indent="0">
              <a:buNone/>
              <a:defRPr sz="6236"/>
            </a:lvl7pPr>
            <a:lvl8pPr marL="9979167" indent="0">
              <a:buNone/>
              <a:defRPr sz="6236"/>
            </a:lvl8pPr>
            <a:lvl9pPr marL="11404763" indent="0">
              <a:buNone/>
              <a:defRPr sz="6236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85364" y="6415088"/>
            <a:ext cx="9764544" cy="11884743"/>
          </a:xfrm>
        </p:spPr>
        <p:txBody>
          <a:bodyPr/>
          <a:lstStyle>
            <a:lvl1pPr marL="0" indent="0">
              <a:buNone/>
              <a:defRPr sz="4989"/>
            </a:lvl1pPr>
            <a:lvl2pPr marL="1425595" indent="0">
              <a:buNone/>
              <a:defRPr sz="4365"/>
            </a:lvl2pPr>
            <a:lvl3pPr marL="2851191" indent="0">
              <a:buNone/>
              <a:defRPr sz="3742"/>
            </a:lvl3pPr>
            <a:lvl4pPr marL="4276786" indent="0">
              <a:buNone/>
              <a:defRPr sz="3118"/>
            </a:lvl4pPr>
            <a:lvl5pPr marL="5702381" indent="0">
              <a:buNone/>
              <a:defRPr sz="3118"/>
            </a:lvl5pPr>
            <a:lvl6pPr marL="7127977" indent="0">
              <a:buNone/>
              <a:defRPr sz="3118"/>
            </a:lvl6pPr>
            <a:lvl7pPr marL="8553572" indent="0">
              <a:buNone/>
              <a:defRPr sz="3118"/>
            </a:lvl7pPr>
            <a:lvl8pPr marL="9979167" indent="0">
              <a:buNone/>
              <a:defRPr sz="3118"/>
            </a:lvl8pPr>
            <a:lvl9pPr marL="11404763" indent="0">
              <a:buNone/>
              <a:defRPr sz="311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816601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81421" y="1138485"/>
            <a:ext cx="26112371" cy="4133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81421" y="5692400"/>
            <a:ext cx="26112371" cy="13567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81421" y="19819457"/>
            <a:ext cx="6811923" cy="11384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74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F6776E-80B4-4674-8FFC-87F050011F16}" type="datetimeFigureOut">
              <a:rPr lang="LID4096" smtClean="0"/>
              <a:t>03/16/2026</a:t>
            </a:fld>
            <a:endParaRPr lang="LID4096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028665" y="19819457"/>
            <a:ext cx="10217884" cy="11384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74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ID4096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381869" y="19819457"/>
            <a:ext cx="6811923" cy="11384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74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C5DA64-A0C2-4A50-81C2-9EB4779DCFDA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36347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2851191" rtl="0" eaLnBrk="1" latinLnBrk="0" hangingPunct="1">
        <a:lnSpc>
          <a:spcPct val="90000"/>
        </a:lnSpc>
        <a:spcBef>
          <a:spcPct val="0"/>
        </a:spcBef>
        <a:buNone/>
        <a:defRPr sz="137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12798" indent="-712798" algn="l" defTabSz="2851191" rtl="0" eaLnBrk="1" latinLnBrk="0" hangingPunct="1">
        <a:lnSpc>
          <a:spcPct val="90000"/>
        </a:lnSpc>
        <a:spcBef>
          <a:spcPts val="3118"/>
        </a:spcBef>
        <a:buFont typeface="Arial" panose="020B0604020202020204" pitchFamily="34" charset="0"/>
        <a:buChar char="•"/>
        <a:defRPr sz="8731" kern="1200">
          <a:solidFill>
            <a:schemeClr val="tx1"/>
          </a:solidFill>
          <a:latin typeface="+mn-lt"/>
          <a:ea typeface="+mn-ea"/>
          <a:cs typeface="+mn-cs"/>
        </a:defRPr>
      </a:lvl1pPr>
      <a:lvl2pPr marL="2138393" indent="-712798" algn="l" defTabSz="2851191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7483" kern="1200">
          <a:solidFill>
            <a:schemeClr val="tx1"/>
          </a:solidFill>
          <a:latin typeface="+mn-lt"/>
          <a:ea typeface="+mn-ea"/>
          <a:cs typeface="+mn-cs"/>
        </a:defRPr>
      </a:lvl2pPr>
      <a:lvl3pPr marL="3563988" indent="-712798" algn="l" defTabSz="2851191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6236" kern="1200">
          <a:solidFill>
            <a:schemeClr val="tx1"/>
          </a:solidFill>
          <a:latin typeface="+mn-lt"/>
          <a:ea typeface="+mn-ea"/>
          <a:cs typeface="+mn-cs"/>
        </a:defRPr>
      </a:lvl3pPr>
      <a:lvl4pPr marL="4989584" indent="-712798" algn="l" defTabSz="2851191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5613" kern="1200">
          <a:solidFill>
            <a:schemeClr val="tx1"/>
          </a:solidFill>
          <a:latin typeface="+mn-lt"/>
          <a:ea typeface="+mn-ea"/>
          <a:cs typeface="+mn-cs"/>
        </a:defRPr>
      </a:lvl4pPr>
      <a:lvl5pPr marL="6415179" indent="-712798" algn="l" defTabSz="2851191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5613" kern="1200">
          <a:solidFill>
            <a:schemeClr val="tx1"/>
          </a:solidFill>
          <a:latin typeface="+mn-lt"/>
          <a:ea typeface="+mn-ea"/>
          <a:cs typeface="+mn-cs"/>
        </a:defRPr>
      </a:lvl5pPr>
      <a:lvl6pPr marL="7840774" indent="-712798" algn="l" defTabSz="2851191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5613" kern="1200">
          <a:solidFill>
            <a:schemeClr val="tx1"/>
          </a:solidFill>
          <a:latin typeface="+mn-lt"/>
          <a:ea typeface="+mn-ea"/>
          <a:cs typeface="+mn-cs"/>
        </a:defRPr>
      </a:lvl6pPr>
      <a:lvl7pPr marL="9266370" indent="-712798" algn="l" defTabSz="2851191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5613" kern="1200">
          <a:solidFill>
            <a:schemeClr val="tx1"/>
          </a:solidFill>
          <a:latin typeface="+mn-lt"/>
          <a:ea typeface="+mn-ea"/>
          <a:cs typeface="+mn-cs"/>
        </a:defRPr>
      </a:lvl7pPr>
      <a:lvl8pPr marL="10691965" indent="-712798" algn="l" defTabSz="2851191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5613" kern="1200">
          <a:solidFill>
            <a:schemeClr val="tx1"/>
          </a:solidFill>
          <a:latin typeface="+mn-lt"/>
          <a:ea typeface="+mn-ea"/>
          <a:cs typeface="+mn-cs"/>
        </a:defRPr>
      </a:lvl8pPr>
      <a:lvl9pPr marL="12117560" indent="-712798" algn="l" defTabSz="2851191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56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851191" rtl="0" eaLnBrk="1" latinLnBrk="0" hangingPunct="1">
        <a:defRPr sz="5613" kern="1200">
          <a:solidFill>
            <a:schemeClr val="tx1"/>
          </a:solidFill>
          <a:latin typeface="+mn-lt"/>
          <a:ea typeface="+mn-ea"/>
          <a:cs typeface="+mn-cs"/>
        </a:defRPr>
      </a:lvl1pPr>
      <a:lvl2pPr marL="1425595" algn="l" defTabSz="2851191" rtl="0" eaLnBrk="1" latinLnBrk="0" hangingPunct="1">
        <a:defRPr sz="5613" kern="1200">
          <a:solidFill>
            <a:schemeClr val="tx1"/>
          </a:solidFill>
          <a:latin typeface="+mn-lt"/>
          <a:ea typeface="+mn-ea"/>
          <a:cs typeface="+mn-cs"/>
        </a:defRPr>
      </a:lvl2pPr>
      <a:lvl3pPr marL="2851191" algn="l" defTabSz="2851191" rtl="0" eaLnBrk="1" latinLnBrk="0" hangingPunct="1">
        <a:defRPr sz="5613" kern="1200">
          <a:solidFill>
            <a:schemeClr val="tx1"/>
          </a:solidFill>
          <a:latin typeface="+mn-lt"/>
          <a:ea typeface="+mn-ea"/>
          <a:cs typeface="+mn-cs"/>
        </a:defRPr>
      </a:lvl3pPr>
      <a:lvl4pPr marL="4276786" algn="l" defTabSz="2851191" rtl="0" eaLnBrk="1" latinLnBrk="0" hangingPunct="1">
        <a:defRPr sz="5613" kern="1200">
          <a:solidFill>
            <a:schemeClr val="tx1"/>
          </a:solidFill>
          <a:latin typeface="+mn-lt"/>
          <a:ea typeface="+mn-ea"/>
          <a:cs typeface="+mn-cs"/>
        </a:defRPr>
      </a:lvl4pPr>
      <a:lvl5pPr marL="5702381" algn="l" defTabSz="2851191" rtl="0" eaLnBrk="1" latinLnBrk="0" hangingPunct="1">
        <a:defRPr sz="5613" kern="1200">
          <a:solidFill>
            <a:schemeClr val="tx1"/>
          </a:solidFill>
          <a:latin typeface="+mn-lt"/>
          <a:ea typeface="+mn-ea"/>
          <a:cs typeface="+mn-cs"/>
        </a:defRPr>
      </a:lvl5pPr>
      <a:lvl6pPr marL="7127977" algn="l" defTabSz="2851191" rtl="0" eaLnBrk="1" latinLnBrk="0" hangingPunct="1">
        <a:defRPr sz="5613" kern="1200">
          <a:solidFill>
            <a:schemeClr val="tx1"/>
          </a:solidFill>
          <a:latin typeface="+mn-lt"/>
          <a:ea typeface="+mn-ea"/>
          <a:cs typeface="+mn-cs"/>
        </a:defRPr>
      </a:lvl6pPr>
      <a:lvl7pPr marL="8553572" algn="l" defTabSz="2851191" rtl="0" eaLnBrk="1" latinLnBrk="0" hangingPunct="1">
        <a:defRPr sz="5613" kern="1200">
          <a:solidFill>
            <a:schemeClr val="tx1"/>
          </a:solidFill>
          <a:latin typeface="+mn-lt"/>
          <a:ea typeface="+mn-ea"/>
          <a:cs typeface="+mn-cs"/>
        </a:defRPr>
      </a:lvl7pPr>
      <a:lvl8pPr marL="9979167" algn="l" defTabSz="2851191" rtl="0" eaLnBrk="1" latinLnBrk="0" hangingPunct="1">
        <a:defRPr sz="5613" kern="1200">
          <a:solidFill>
            <a:schemeClr val="tx1"/>
          </a:solidFill>
          <a:latin typeface="+mn-lt"/>
          <a:ea typeface="+mn-ea"/>
          <a:cs typeface="+mn-cs"/>
        </a:defRPr>
      </a:lvl8pPr>
      <a:lvl9pPr marL="11404763" algn="l" defTabSz="2851191" rtl="0" eaLnBrk="1" latinLnBrk="0" hangingPunct="1">
        <a:defRPr sz="56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43" descr="IVI logo lrg 600x139 white bg">
            <a:extLst>
              <a:ext uri="{FF2B5EF4-FFF2-40B4-BE49-F238E27FC236}">
                <a16:creationId xmlns:a16="http://schemas.microsoft.com/office/drawing/2014/main" id="{F8E2741D-1199-00DB-EE73-4A9FB7C91F2B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6818" y="1095134"/>
            <a:ext cx="4806677" cy="1249358"/>
          </a:xfrm>
          <a:prstGeom prst="rect">
            <a:avLst/>
          </a:prstGeom>
          <a:solidFill>
            <a:schemeClr val="bg1">
              <a:alpha val="59999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A90A2C-42A2-4DEA-56E8-A15F9CA8908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6732" y="365759"/>
            <a:ext cx="5110415" cy="270810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AB0CFAAD-56B5-D92D-6CF8-D27C2186108B}"/>
              </a:ext>
            </a:extLst>
          </p:cNvPr>
          <p:cNvSpPr/>
          <p:nvPr/>
        </p:nvSpPr>
        <p:spPr>
          <a:xfrm>
            <a:off x="1407572" y="4231517"/>
            <a:ext cx="14848737" cy="14222296"/>
          </a:xfrm>
          <a:custGeom>
            <a:avLst/>
            <a:gdLst>
              <a:gd name="csX0" fmla="*/ 0 w 14848737"/>
              <a:gd name="csY0" fmla="*/ 0 h 14222296"/>
              <a:gd name="csX1" fmla="*/ 148487 w 14848737"/>
              <a:gd name="csY1" fmla="*/ 0 h 14222296"/>
              <a:gd name="csX2" fmla="*/ 296975 w 14848737"/>
              <a:gd name="csY2" fmla="*/ 0 h 14222296"/>
              <a:gd name="csX3" fmla="*/ 1039412 w 14848737"/>
              <a:gd name="csY3" fmla="*/ 0 h 14222296"/>
              <a:gd name="csX4" fmla="*/ 1336386 w 14848737"/>
              <a:gd name="csY4" fmla="*/ 0 h 14222296"/>
              <a:gd name="csX5" fmla="*/ 1930336 w 14848737"/>
              <a:gd name="csY5" fmla="*/ 0 h 14222296"/>
              <a:gd name="csX6" fmla="*/ 2227311 w 14848737"/>
              <a:gd name="csY6" fmla="*/ 0 h 14222296"/>
              <a:gd name="csX7" fmla="*/ 3118235 w 14848737"/>
              <a:gd name="csY7" fmla="*/ 0 h 14222296"/>
              <a:gd name="csX8" fmla="*/ 3266722 w 14848737"/>
              <a:gd name="csY8" fmla="*/ 0 h 14222296"/>
              <a:gd name="csX9" fmla="*/ 4009159 w 14848737"/>
              <a:gd name="csY9" fmla="*/ 0 h 14222296"/>
              <a:gd name="csX10" fmla="*/ 4454621 w 14848737"/>
              <a:gd name="csY10" fmla="*/ 0 h 14222296"/>
              <a:gd name="csX11" fmla="*/ 4603108 w 14848737"/>
              <a:gd name="csY11" fmla="*/ 0 h 14222296"/>
              <a:gd name="csX12" fmla="*/ 5494033 w 14848737"/>
              <a:gd name="csY12" fmla="*/ 0 h 14222296"/>
              <a:gd name="csX13" fmla="*/ 5939495 w 14848737"/>
              <a:gd name="csY13" fmla="*/ 0 h 14222296"/>
              <a:gd name="csX14" fmla="*/ 6087982 w 14848737"/>
              <a:gd name="csY14" fmla="*/ 0 h 14222296"/>
              <a:gd name="csX15" fmla="*/ 6681932 w 14848737"/>
              <a:gd name="csY15" fmla="*/ 0 h 14222296"/>
              <a:gd name="csX16" fmla="*/ 7572856 w 14848737"/>
              <a:gd name="csY16" fmla="*/ 0 h 14222296"/>
              <a:gd name="csX17" fmla="*/ 8315293 w 14848737"/>
              <a:gd name="csY17" fmla="*/ 0 h 14222296"/>
              <a:gd name="csX18" fmla="*/ 8760755 w 14848737"/>
              <a:gd name="csY18" fmla="*/ 0 h 14222296"/>
              <a:gd name="csX19" fmla="*/ 9206217 w 14848737"/>
              <a:gd name="csY19" fmla="*/ 0 h 14222296"/>
              <a:gd name="csX20" fmla="*/ 9354704 w 14848737"/>
              <a:gd name="csY20" fmla="*/ 0 h 14222296"/>
              <a:gd name="csX21" fmla="*/ 10245629 w 14848737"/>
              <a:gd name="csY21" fmla="*/ 0 h 14222296"/>
              <a:gd name="csX22" fmla="*/ 10542603 w 14848737"/>
              <a:gd name="csY22" fmla="*/ 0 h 14222296"/>
              <a:gd name="csX23" fmla="*/ 11285040 w 14848737"/>
              <a:gd name="csY23" fmla="*/ 0 h 14222296"/>
              <a:gd name="csX24" fmla="*/ 11582015 w 14848737"/>
              <a:gd name="csY24" fmla="*/ 0 h 14222296"/>
              <a:gd name="csX25" fmla="*/ 11730502 w 14848737"/>
              <a:gd name="csY25" fmla="*/ 0 h 14222296"/>
              <a:gd name="csX26" fmla="*/ 12324452 w 14848737"/>
              <a:gd name="csY26" fmla="*/ 0 h 14222296"/>
              <a:gd name="csX27" fmla="*/ 12769914 w 14848737"/>
              <a:gd name="csY27" fmla="*/ 0 h 14222296"/>
              <a:gd name="csX28" fmla="*/ 13215376 w 14848737"/>
              <a:gd name="csY28" fmla="*/ 0 h 14222296"/>
              <a:gd name="csX29" fmla="*/ 13512351 w 14848737"/>
              <a:gd name="csY29" fmla="*/ 0 h 14222296"/>
              <a:gd name="csX30" fmla="*/ 13660838 w 14848737"/>
              <a:gd name="csY30" fmla="*/ 0 h 14222296"/>
              <a:gd name="csX31" fmla="*/ 14848737 w 14848737"/>
              <a:gd name="csY31" fmla="*/ 0 h 14222296"/>
              <a:gd name="csX32" fmla="*/ 14848737 w 14848737"/>
              <a:gd name="csY32" fmla="*/ 734819 h 14222296"/>
              <a:gd name="csX33" fmla="*/ 14848737 w 14848737"/>
              <a:gd name="csY33" fmla="*/ 1327414 h 14222296"/>
              <a:gd name="csX34" fmla="*/ 14848737 w 14848737"/>
              <a:gd name="csY34" fmla="*/ 1777787 h 14222296"/>
              <a:gd name="csX35" fmla="*/ 14848737 w 14848737"/>
              <a:gd name="csY35" fmla="*/ 2370383 h 14222296"/>
              <a:gd name="csX36" fmla="*/ 14848737 w 14848737"/>
              <a:gd name="csY36" fmla="*/ 2962978 h 14222296"/>
              <a:gd name="csX37" fmla="*/ 14848737 w 14848737"/>
              <a:gd name="csY37" fmla="*/ 3271128 h 14222296"/>
              <a:gd name="csX38" fmla="*/ 14848737 w 14848737"/>
              <a:gd name="csY38" fmla="*/ 3437055 h 14222296"/>
              <a:gd name="csX39" fmla="*/ 14848737 w 14848737"/>
              <a:gd name="csY39" fmla="*/ 4029651 h 14222296"/>
              <a:gd name="csX40" fmla="*/ 14848737 w 14848737"/>
              <a:gd name="csY40" fmla="*/ 4622246 h 14222296"/>
              <a:gd name="csX41" fmla="*/ 14848737 w 14848737"/>
              <a:gd name="csY41" fmla="*/ 4788173 h 14222296"/>
              <a:gd name="csX42" fmla="*/ 14848737 w 14848737"/>
              <a:gd name="csY42" fmla="*/ 5665215 h 14222296"/>
              <a:gd name="csX43" fmla="*/ 14848737 w 14848737"/>
              <a:gd name="csY43" fmla="*/ 6115587 h 14222296"/>
              <a:gd name="csX44" fmla="*/ 14848737 w 14848737"/>
              <a:gd name="csY44" fmla="*/ 6992629 h 14222296"/>
              <a:gd name="csX45" fmla="*/ 14848737 w 14848737"/>
              <a:gd name="csY45" fmla="*/ 7727447 h 14222296"/>
              <a:gd name="csX46" fmla="*/ 14848737 w 14848737"/>
              <a:gd name="csY46" fmla="*/ 8177820 h 14222296"/>
              <a:gd name="csX47" fmla="*/ 14848737 w 14848737"/>
              <a:gd name="csY47" fmla="*/ 9054862 h 14222296"/>
              <a:gd name="csX48" fmla="*/ 14848737 w 14848737"/>
              <a:gd name="csY48" fmla="*/ 9505234 h 14222296"/>
              <a:gd name="csX49" fmla="*/ 14848737 w 14848737"/>
              <a:gd name="csY49" fmla="*/ 10382276 h 14222296"/>
              <a:gd name="csX50" fmla="*/ 14848737 w 14848737"/>
              <a:gd name="csY50" fmla="*/ 10690426 h 14222296"/>
              <a:gd name="csX51" fmla="*/ 14848737 w 14848737"/>
              <a:gd name="csY51" fmla="*/ 11425244 h 14222296"/>
              <a:gd name="csX52" fmla="*/ 14848737 w 14848737"/>
              <a:gd name="csY52" fmla="*/ 11591171 h 14222296"/>
              <a:gd name="csX53" fmla="*/ 14848737 w 14848737"/>
              <a:gd name="csY53" fmla="*/ 12041544 h 14222296"/>
              <a:gd name="csX54" fmla="*/ 14848737 w 14848737"/>
              <a:gd name="csY54" fmla="*/ 12776363 h 14222296"/>
              <a:gd name="csX55" fmla="*/ 14848737 w 14848737"/>
              <a:gd name="csY55" fmla="*/ 13511181 h 14222296"/>
              <a:gd name="csX56" fmla="*/ 14848737 w 14848737"/>
              <a:gd name="csY56" fmla="*/ 14222296 h 14222296"/>
              <a:gd name="csX57" fmla="*/ 13957813 w 14848737"/>
              <a:gd name="csY57" fmla="*/ 14222296 h 14222296"/>
              <a:gd name="csX58" fmla="*/ 13512351 w 14848737"/>
              <a:gd name="csY58" fmla="*/ 14222296 h 14222296"/>
              <a:gd name="csX59" fmla="*/ 12918401 w 14848737"/>
              <a:gd name="csY59" fmla="*/ 14222296 h 14222296"/>
              <a:gd name="csX60" fmla="*/ 12175964 w 14848737"/>
              <a:gd name="csY60" fmla="*/ 14222296 h 14222296"/>
              <a:gd name="csX61" fmla="*/ 11285040 w 14848737"/>
              <a:gd name="csY61" fmla="*/ 14222296 h 14222296"/>
              <a:gd name="csX62" fmla="*/ 10394116 w 14848737"/>
              <a:gd name="csY62" fmla="*/ 14222296 h 14222296"/>
              <a:gd name="csX63" fmla="*/ 9800166 w 14848737"/>
              <a:gd name="csY63" fmla="*/ 14222296 h 14222296"/>
              <a:gd name="csX64" fmla="*/ 9503192 w 14848737"/>
              <a:gd name="csY64" fmla="*/ 14222296 h 14222296"/>
              <a:gd name="csX65" fmla="*/ 8909242 w 14848737"/>
              <a:gd name="csY65" fmla="*/ 14222296 h 14222296"/>
              <a:gd name="csX66" fmla="*/ 8166805 w 14848737"/>
              <a:gd name="csY66" fmla="*/ 14222296 h 14222296"/>
              <a:gd name="csX67" fmla="*/ 7869831 w 14848737"/>
              <a:gd name="csY67" fmla="*/ 14222296 h 14222296"/>
              <a:gd name="csX68" fmla="*/ 7424369 w 14848737"/>
              <a:gd name="csY68" fmla="*/ 14222296 h 14222296"/>
              <a:gd name="csX69" fmla="*/ 6681932 w 14848737"/>
              <a:gd name="csY69" fmla="*/ 14222296 h 14222296"/>
              <a:gd name="csX70" fmla="*/ 6533444 w 14848737"/>
              <a:gd name="csY70" fmla="*/ 14222296 h 14222296"/>
              <a:gd name="csX71" fmla="*/ 5642520 w 14848737"/>
              <a:gd name="csY71" fmla="*/ 14222296 h 14222296"/>
              <a:gd name="csX72" fmla="*/ 4900083 w 14848737"/>
              <a:gd name="csY72" fmla="*/ 14222296 h 14222296"/>
              <a:gd name="csX73" fmla="*/ 4009159 w 14848737"/>
              <a:gd name="csY73" fmla="*/ 14222296 h 14222296"/>
              <a:gd name="csX74" fmla="*/ 3118235 w 14848737"/>
              <a:gd name="csY74" fmla="*/ 14222296 h 14222296"/>
              <a:gd name="csX75" fmla="*/ 2227311 w 14848737"/>
              <a:gd name="csY75" fmla="*/ 14222296 h 14222296"/>
              <a:gd name="csX76" fmla="*/ 1930336 w 14848737"/>
              <a:gd name="csY76" fmla="*/ 14222296 h 14222296"/>
              <a:gd name="csX77" fmla="*/ 1781848 w 14848737"/>
              <a:gd name="csY77" fmla="*/ 14222296 h 14222296"/>
              <a:gd name="csX78" fmla="*/ 1039412 w 14848737"/>
              <a:gd name="csY78" fmla="*/ 14222296 h 14222296"/>
              <a:gd name="csX79" fmla="*/ 890924 w 14848737"/>
              <a:gd name="csY79" fmla="*/ 14222296 h 14222296"/>
              <a:gd name="csX80" fmla="*/ 0 w 14848737"/>
              <a:gd name="csY80" fmla="*/ 14222296 h 14222296"/>
              <a:gd name="csX81" fmla="*/ 0 w 14848737"/>
              <a:gd name="csY81" fmla="*/ 14056369 h 14222296"/>
              <a:gd name="csX82" fmla="*/ 0 w 14848737"/>
              <a:gd name="csY82" fmla="*/ 13748219 h 14222296"/>
              <a:gd name="csX83" fmla="*/ 0 w 14848737"/>
              <a:gd name="csY83" fmla="*/ 12871178 h 14222296"/>
              <a:gd name="csX84" fmla="*/ 0 w 14848737"/>
              <a:gd name="csY84" fmla="*/ 12136359 h 14222296"/>
              <a:gd name="csX85" fmla="*/ 0 w 14848737"/>
              <a:gd name="csY85" fmla="*/ 11828210 h 14222296"/>
              <a:gd name="csX86" fmla="*/ 0 w 14848737"/>
              <a:gd name="csY86" fmla="*/ 11662283 h 14222296"/>
              <a:gd name="csX87" fmla="*/ 0 w 14848737"/>
              <a:gd name="csY87" fmla="*/ 11496356 h 14222296"/>
              <a:gd name="csX88" fmla="*/ 0 w 14848737"/>
              <a:gd name="csY88" fmla="*/ 11045983 h 14222296"/>
              <a:gd name="csX89" fmla="*/ 0 w 14848737"/>
              <a:gd name="csY89" fmla="*/ 10311165 h 14222296"/>
              <a:gd name="csX90" fmla="*/ 0 w 14848737"/>
              <a:gd name="csY90" fmla="*/ 9434123 h 14222296"/>
              <a:gd name="csX91" fmla="*/ 0 w 14848737"/>
              <a:gd name="csY91" fmla="*/ 9268196 h 14222296"/>
              <a:gd name="csX92" fmla="*/ 0 w 14848737"/>
              <a:gd name="csY92" fmla="*/ 9102269 h 14222296"/>
              <a:gd name="csX93" fmla="*/ 0 w 14848737"/>
              <a:gd name="csY93" fmla="*/ 8509674 h 14222296"/>
              <a:gd name="csX94" fmla="*/ 0 w 14848737"/>
              <a:gd name="csY94" fmla="*/ 7774855 h 14222296"/>
              <a:gd name="csX95" fmla="*/ 0 w 14848737"/>
              <a:gd name="csY95" fmla="*/ 7324482 h 14222296"/>
              <a:gd name="csX96" fmla="*/ 0 w 14848737"/>
              <a:gd name="csY96" fmla="*/ 6731887 h 14222296"/>
              <a:gd name="csX97" fmla="*/ 0 w 14848737"/>
              <a:gd name="csY97" fmla="*/ 5854845 h 14222296"/>
              <a:gd name="csX98" fmla="*/ 0 w 14848737"/>
              <a:gd name="csY98" fmla="*/ 5546695 h 14222296"/>
              <a:gd name="csX99" fmla="*/ 0 w 14848737"/>
              <a:gd name="csY99" fmla="*/ 4954100 h 14222296"/>
              <a:gd name="csX100" fmla="*/ 0 w 14848737"/>
              <a:gd name="csY100" fmla="*/ 4219281 h 14222296"/>
              <a:gd name="csX101" fmla="*/ 0 w 14848737"/>
              <a:gd name="csY101" fmla="*/ 3768908 h 14222296"/>
              <a:gd name="csX102" fmla="*/ 0 w 14848737"/>
              <a:gd name="csY102" fmla="*/ 3034090 h 14222296"/>
              <a:gd name="csX103" fmla="*/ 0 w 14848737"/>
              <a:gd name="csY103" fmla="*/ 2583717 h 14222296"/>
              <a:gd name="csX104" fmla="*/ 0 w 14848737"/>
              <a:gd name="csY104" fmla="*/ 2133344 h 14222296"/>
              <a:gd name="csX105" fmla="*/ 0 w 14848737"/>
              <a:gd name="csY105" fmla="*/ 1682972 h 14222296"/>
              <a:gd name="csX106" fmla="*/ 0 w 14848737"/>
              <a:gd name="csY106" fmla="*/ 1232599 h 14222296"/>
              <a:gd name="csX107" fmla="*/ 0 w 14848737"/>
              <a:gd name="csY107" fmla="*/ 640003 h 14222296"/>
              <a:gd name="csX108" fmla="*/ 0 w 14848737"/>
              <a:gd name="csY108" fmla="*/ 0 h 142222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</a:cxnLst>
            <a:rect l="l" t="t" r="r" b="b"/>
            <a:pathLst>
              <a:path w="14848737" h="14222296" extrusionOk="0">
                <a:moveTo>
                  <a:pt x="0" y="0"/>
                </a:moveTo>
                <a:cubicBezTo>
                  <a:pt x="40067" y="-7992"/>
                  <a:pt x="95240" y="3842"/>
                  <a:pt x="148487" y="0"/>
                </a:cubicBezTo>
                <a:cubicBezTo>
                  <a:pt x="201734" y="-3842"/>
                  <a:pt x="235488" y="4428"/>
                  <a:pt x="296975" y="0"/>
                </a:cubicBezTo>
                <a:cubicBezTo>
                  <a:pt x="358462" y="-4428"/>
                  <a:pt x="862923" y="79767"/>
                  <a:pt x="1039412" y="0"/>
                </a:cubicBezTo>
                <a:cubicBezTo>
                  <a:pt x="1215901" y="-79767"/>
                  <a:pt x="1260308" y="27294"/>
                  <a:pt x="1336386" y="0"/>
                </a:cubicBezTo>
                <a:cubicBezTo>
                  <a:pt x="1412464" y="-27294"/>
                  <a:pt x="1742305" y="63957"/>
                  <a:pt x="1930336" y="0"/>
                </a:cubicBezTo>
                <a:cubicBezTo>
                  <a:pt x="2118367" y="-63957"/>
                  <a:pt x="2100952" y="27851"/>
                  <a:pt x="2227311" y="0"/>
                </a:cubicBezTo>
                <a:cubicBezTo>
                  <a:pt x="2353670" y="-27851"/>
                  <a:pt x="2806530" y="17043"/>
                  <a:pt x="3118235" y="0"/>
                </a:cubicBezTo>
                <a:cubicBezTo>
                  <a:pt x="3429940" y="-17043"/>
                  <a:pt x="3209366" y="6580"/>
                  <a:pt x="3266722" y="0"/>
                </a:cubicBezTo>
                <a:cubicBezTo>
                  <a:pt x="3324078" y="-6580"/>
                  <a:pt x="3815551" y="71077"/>
                  <a:pt x="4009159" y="0"/>
                </a:cubicBezTo>
                <a:cubicBezTo>
                  <a:pt x="4202767" y="-71077"/>
                  <a:pt x="4288807" y="12824"/>
                  <a:pt x="4454621" y="0"/>
                </a:cubicBezTo>
                <a:cubicBezTo>
                  <a:pt x="4620435" y="-12824"/>
                  <a:pt x="4530806" y="9058"/>
                  <a:pt x="4603108" y="0"/>
                </a:cubicBezTo>
                <a:cubicBezTo>
                  <a:pt x="4675410" y="-9058"/>
                  <a:pt x="5058287" y="46695"/>
                  <a:pt x="5494033" y="0"/>
                </a:cubicBezTo>
                <a:cubicBezTo>
                  <a:pt x="5929780" y="-46695"/>
                  <a:pt x="5802714" y="28911"/>
                  <a:pt x="5939495" y="0"/>
                </a:cubicBezTo>
                <a:cubicBezTo>
                  <a:pt x="6076276" y="-28911"/>
                  <a:pt x="6027615" y="6942"/>
                  <a:pt x="6087982" y="0"/>
                </a:cubicBezTo>
                <a:cubicBezTo>
                  <a:pt x="6148349" y="-6942"/>
                  <a:pt x="6435448" y="60002"/>
                  <a:pt x="6681932" y="0"/>
                </a:cubicBezTo>
                <a:cubicBezTo>
                  <a:pt x="6928416" y="-60002"/>
                  <a:pt x="7186984" y="24667"/>
                  <a:pt x="7572856" y="0"/>
                </a:cubicBezTo>
                <a:cubicBezTo>
                  <a:pt x="7958728" y="-24667"/>
                  <a:pt x="8015604" y="30841"/>
                  <a:pt x="8315293" y="0"/>
                </a:cubicBezTo>
                <a:cubicBezTo>
                  <a:pt x="8614982" y="-30841"/>
                  <a:pt x="8566862" y="36930"/>
                  <a:pt x="8760755" y="0"/>
                </a:cubicBezTo>
                <a:cubicBezTo>
                  <a:pt x="8954648" y="-36930"/>
                  <a:pt x="9058015" y="8438"/>
                  <a:pt x="9206217" y="0"/>
                </a:cubicBezTo>
                <a:cubicBezTo>
                  <a:pt x="9354419" y="-8438"/>
                  <a:pt x="9307352" y="399"/>
                  <a:pt x="9354704" y="0"/>
                </a:cubicBezTo>
                <a:cubicBezTo>
                  <a:pt x="9402056" y="-399"/>
                  <a:pt x="9856565" y="89264"/>
                  <a:pt x="10245629" y="0"/>
                </a:cubicBezTo>
                <a:cubicBezTo>
                  <a:pt x="10634694" y="-89264"/>
                  <a:pt x="10424310" y="27108"/>
                  <a:pt x="10542603" y="0"/>
                </a:cubicBezTo>
                <a:cubicBezTo>
                  <a:pt x="10660896" y="-27108"/>
                  <a:pt x="11036331" y="34573"/>
                  <a:pt x="11285040" y="0"/>
                </a:cubicBezTo>
                <a:cubicBezTo>
                  <a:pt x="11533749" y="-34573"/>
                  <a:pt x="11467785" y="5275"/>
                  <a:pt x="11582015" y="0"/>
                </a:cubicBezTo>
                <a:cubicBezTo>
                  <a:pt x="11696245" y="-5275"/>
                  <a:pt x="11657534" y="2554"/>
                  <a:pt x="11730502" y="0"/>
                </a:cubicBezTo>
                <a:cubicBezTo>
                  <a:pt x="11803470" y="-2554"/>
                  <a:pt x="12165814" y="8383"/>
                  <a:pt x="12324452" y="0"/>
                </a:cubicBezTo>
                <a:cubicBezTo>
                  <a:pt x="12483090" y="-8383"/>
                  <a:pt x="12629292" y="5254"/>
                  <a:pt x="12769914" y="0"/>
                </a:cubicBezTo>
                <a:cubicBezTo>
                  <a:pt x="12910536" y="-5254"/>
                  <a:pt x="13109748" y="4568"/>
                  <a:pt x="13215376" y="0"/>
                </a:cubicBezTo>
                <a:cubicBezTo>
                  <a:pt x="13321004" y="-4568"/>
                  <a:pt x="13403951" y="30609"/>
                  <a:pt x="13512351" y="0"/>
                </a:cubicBezTo>
                <a:cubicBezTo>
                  <a:pt x="13620752" y="-30609"/>
                  <a:pt x="13587629" y="8873"/>
                  <a:pt x="13660838" y="0"/>
                </a:cubicBezTo>
                <a:cubicBezTo>
                  <a:pt x="13734047" y="-8873"/>
                  <a:pt x="14337702" y="14308"/>
                  <a:pt x="14848737" y="0"/>
                </a:cubicBezTo>
                <a:cubicBezTo>
                  <a:pt x="14889728" y="346484"/>
                  <a:pt x="14777354" y="530112"/>
                  <a:pt x="14848737" y="734819"/>
                </a:cubicBezTo>
                <a:cubicBezTo>
                  <a:pt x="14920120" y="939526"/>
                  <a:pt x="14848464" y="1182088"/>
                  <a:pt x="14848737" y="1327414"/>
                </a:cubicBezTo>
                <a:cubicBezTo>
                  <a:pt x="14849010" y="1472740"/>
                  <a:pt x="14813041" y="1600276"/>
                  <a:pt x="14848737" y="1777787"/>
                </a:cubicBezTo>
                <a:cubicBezTo>
                  <a:pt x="14884433" y="1955298"/>
                  <a:pt x="14820569" y="2190439"/>
                  <a:pt x="14848737" y="2370383"/>
                </a:cubicBezTo>
                <a:cubicBezTo>
                  <a:pt x="14876905" y="2550327"/>
                  <a:pt x="14833432" y="2715845"/>
                  <a:pt x="14848737" y="2962978"/>
                </a:cubicBezTo>
                <a:cubicBezTo>
                  <a:pt x="14864042" y="3210111"/>
                  <a:pt x="14834930" y="3208907"/>
                  <a:pt x="14848737" y="3271128"/>
                </a:cubicBezTo>
                <a:cubicBezTo>
                  <a:pt x="14862544" y="3333349"/>
                  <a:pt x="14839028" y="3396776"/>
                  <a:pt x="14848737" y="3437055"/>
                </a:cubicBezTo>
                <a:cubicBezTo>
                  <a:pt x="14858446" y="3477334"/>
                  <a:pt x="14819174" y="3851201"/>
                  <a:pt x="14848737" y="4029651"/>
                </a:cubicBezTo>
                <a:cubicBezTo>
                  <a:pt x="14878300" y="4208101"/>
                  <a:pt x="14836966" y="4422206"/>
                  <a:pt x="14848737" y="4622246"/>
                </a:cubicBezTo>
                <a:cubicBezTo>
                  <a:pt x="14860508" y="4822286"/>
                  <a:pt x="14835607" y="4721526"/>
                  <a:pt x="14848737" y="4788173"/>
                </a:cubicBezTo>
                <a:cubicBezTo>
                  <a:pt x="14861867" y="4854820"/>
                  <a:pt x="14846692" y="5436597"/>
                  <a:pt x="14848737" y="5665215"/>
                </a:cubicBezTo>
                <a:cubicBezTo>
                  <a:pt x="14850782" y="5893833"/>
                  <a:pt x="14835524" y="6017348"/>
                  <a:pt x="14848737" y="6115587"/>
                </a:cubicBezTo>
                <a:cubicBezTo>
                  <a:pt x="14861950" y="6213826"/>
                  <a:pt x="14821667" y="6739941"/>
                  <a:pt x="14848737" y="6992629"/>
                </a:cubicBezTo>
                <a:cubicBezTo>
                  <a:pt x="14875807" y="7245317"/>
                  <a:pt x="14784126" y="7364048"/>
                  <a:pt x="14848737" y="7727447"/>
                </a:cubicBezTo>
                <a:cubicBezTo>
                  <a:pt x="14913348" y="8090846"/>
                  <a:pt x="14840192" y="8061136"/>
                  <a:pt x="14848737" y="8177820"/>
                </a:cubicBezTo>
                <a:cubicBezTo>
                  <a:pt x="14857282" y="8294504"/>
                  <a:pt x="14847838" y="8763987"/>
                  <a:pt x="14848737" y="9054862"/>
                </a:cubicBezTo>
                <a:cubicBezTo>
                  <a:pt x="14849636" y="9345737"/>
                  <a:pt x="14830976" y="9377021"/>
                  <a:pt x="14848737" y="9505234"/>
                </a:cubicBezTo>
                <a:cubicBezTo>
                  <a:pt x="14866498" y="9633447"/>
                  <a:pt x="14794296" y="10062106"/>
                  <a:pt x="14848737" y="10382276"/>
                </a:cubicBezTo>
                <a:cubicBezTo>
                  <a:pt x="14903178" y="10702446"/>
                  <a:pt x="14817204" y="10552689"/>
                  <a:pt x="14848737" y="10690426"/>
                </a:cubicBezTo>
                <a:cubicBezTo>
                  <a:pt x="14880270" y="10828163"/>
                  <a:pt x="14779084" y="11070668"/>
                  <a:pt x="14848737" y="11425244"/>
                </a:cubicBezTo>
                <a:cubicBezTo>
                  <a:pt x="14918390" y="11779820"/>
                  <a:pt x="14833605" y="11511320"/>
                  <a:pt x="14848737" y="11591171"/>
                </a:cubicBezTo>
                <a:cubicBezTo>
                  <a:pt x="14863869" y="11671022"/>
                  <a:pt x="14819475" y="11889312"/>
                  <a:pt x="14848737" y="12041544"/>
                </a:cubicBezTo>
                <a:cubicBezTo>
                  <a:pt x="14877999" y="12193776"/>
                  <a:pt x="14761534" y="12570562"/>
                  <a:pt x="14848737" y="12776363"/>
                </a:cubicBezTo>
                <a:cubicBezTo>
                  <a:pt x="14935940" y="12982164"/>
                  <a:pt x="14831549" y="13146161"/>
                  <a:pt x="14848737" y="13511181"/>
                </a:cubicBezTo>
                <a:cubicBezTo>
                  <a:pt x="14865925" y="13876201"/>
                  <a:pt x="14805810" y="13982932"/>
                  <a:pt x="14848737" y="14222296"/>
                </a:cubicBezTo>
                <a:cubicBezTo>
                  <a:pt x="14454704" y="14255949"/>
                  <a:pt x="14303507" y="14197690"/>
                  <a:pt x="13957813" y="14222296"/>
                </a:cubicBezTo>
                <a:cubicBezTo>
                  <a:pt x="13612119" y="14246902"/>
                  <a:pt x="13668009" y="14189329"/>
                  <a:pt x="13512351" y="14222296"/>
                </a:cubicBezTo>
                <a:cubicBezTo>
                  <a:pt x="13356693" y="14255263"/>
                  <a:pt x="13093162" y="14222238"/>
                  <a:pt x="12918401" y="14222296"/>
                </a:cubicBezTo>
                <a:cubicBezTo>
                  <a:pt x="12743640" y="14222354"/>
                  <a:pt x="12483144" y="14133795"/>
                  <a:pt x="12175964" y="14222296"/>
                </a:cubicBezTo>
                <a:cubicBezTo>
                  <a:pt x="11868784" y="14310797"/>
                  <a:pt x="11657092" y="14162402"/>
                  <a:pt x="11285040" y="14222296"/>
                </a:cubicBezTo>
                <a:cubicBezTo>
                  <a:pt x="10912988" y="14282190"/>
                  <a:pt x="10666306" y="14153916"/>
                  <a:pt x="10394116" y="14222296"/>
                </a:cubicBezTo>
                <a:cubicBezTo>
                  <a:pt x="10121926" y="14290676"/>
                  <a:pt x="10058857" y="14219434"/>
                  <a:pt x="9800166" y="14222296"/>
                </a:cubicBezTo>
                <a:cubicBezTo>
                  <a:pt x="9541475" y="14225158"/>
                  <a:pt x="9581492" y="14203230"/>
                  <a:pt x="9503192" y="14222296"/>
                </a:cubicBezTo>
                <a:cubicBezTo>
                  <a:pt x="9424892" y="14241362"/>
                  <a:pt x="9202590" y="14217204"/>
                  <a:pt x="8909242" y="14222296"/>
                </a:cubicBezTo>
                <a:cubicBezTo>
                  <a:pt x="8615894" y="14227388"/>
                  <a:pt x="8536163" y="14211059"/>
                  <a:pt x="8166805" y="14222296"/>
                </a:cubicBezTo>
                <a:cubicBezTo>
                  <a:pt x="7797447" y="14233533"/>
                  <a:pt x="7980603" y="14219241"/>
                  <a:pt x="7869831" y="14222296"/>
                </a:cubicBezTo>
                <a:cubicBezTo>
                  <a:pt x="7759059" y="14225351"/>
                  <a:pt x="7630895" y="14214893"/>
                  <a:pt x="7424369" y="14222296"/>
                </a:cubicBezTo>
                <a:cubicBezTo>
                  <a:pt x="7217843" y="14229699"/>
                  <a:pt x="6970424" y="14155930"/>
                  <a:pt x="6681932" y="14222296"/>
                </a:cubicBezTo>
                <a:cubicBezTo>
                  <a:pt x="6393440" y="14288662"/>
                  <a:pt x="6584348" y="14206128"/>
                  <a:pt x="6533444" y="14222296"/>
                </a:cubicBezTo>
                <a:cubicBezTo>
                  <a:pt x="6482540" y="14238464"/>
                  <a:pt x="6017621" y="14137493"/>
                  <a:pt x="5642520" y="14222296"/>
                </a:cubicBezTo>
                <a:cubicBezTo>
                  <a:pt x="5267419" y="14307099"/>
                  <a:pt x="5232740" y="14145480"/>
                  <a:pt x="4900083" y="14222296"/>
                </a:cubicBezTo>
                <a:cubicBezTo>
                  <a:pt x="4567426" y="14299112"/>
                  <a:pt x="4448928" y="14155371"/>
                  <a:pt x="4009159" y="14222296"/>
                </a:cubicBezTo>
                <a:cubicBezTo>
                  <a:pt x="3569390" y="14289221"/>
                  <a:pt x="3408025" y="14178126"/>
                  <a:pt x="3118235" y="14222296"/>
                </a:cubicBezTo>
                <a:cubicBezTo>
                  <a:pt x="2828445" y="14266466"/>
                  <a:pt x="2652191" y="14199131"/>
                  <a:pt x="2227311" y="14222296"/>
                </a:cubicBezTo>
                <a:cubicBezTo>
                  <a:pt x="1802431" y="14245461"/>
                  <a:pt x="2050838" y="14196476"/>
                  <a:pt x="1930336" y="14222296"/>
                </a:cubicBezTo>
                <a:cubicBezTo>
                  <a:pt x="1809835" y="14248116"/>
                  <a:pt x="1828069" y="14214835"/>
                  <a:pt x="1781848" y="14222296"/>
                </a:cubicBezTo>
                <a:cubicBezTo>
                  <a:pt x="1735627" y="14229757"/>
                  <a:pt x="1209630" y="14174267"/>
                  <a:pt x="1039412" y="14222296"/>
                </a:cubicBezTo>
                <a:cubicBezTo>
                  <a:pt x="869194" y="14270325"/>
                  <a:pt x="932984" y="14210384"/>
                  <a:pt x="890924" y="14222296"/>
                </a:cubicBezTo>
                <a:cubicBezTo>
                  <a:pt x="848864" y="14234208"/>
                  <a:pt x="253229" y="14166092"/>
                  <a:pt x="0" y="14222296"/>
                </a:cubicBezTo>
                <a:cubicBezTo>
                  <a:pt x="-19892" y="14143384"/>
                  <a:pt x="19701" y="14107852"/>
                  <a:pt x="0" y="14056369"/>
                </a:cubicBezTo>
                <a:cubicBezTo>
                  <a:pt x="-19701" y="14004886"/>
                  <a:pt x="6711" y="13897191"/>
                  <a:pt x="0" y="13748219"/>
                </a:cubicBezTo>
                <a:cubicBezTo>
                  <a:pt x="-6711" y="13599247"/>
                  <a:pt x="31576" y="13305814"/>
                  <a:pt x="0" y="12871178"/>
                </a:cubicBezTo>
                <a:cubicBezTo>
                  <a:pt x="-31576" y="12436542"/>
                  <a:pt x="44749" y="12454637"/>
                  <a:pt x="0" y="12136359"/>
                </a:cubicBezTo>
                <a:cubicBezTo>
                  <a:pt x="-44749" y="11818081"/>
                  <a:pt x="2092" y="11964817"/>
                  <a:pt x="0" y="11828210"/>
                </a:cubicBezTo>
                <a:cubicBezTo>
                  <a:pt x="-2092" y="11691603"/>
                  <a:pt x="10291" y="11732541"/>
                  <a:pt x="0" y="11662283"/>
                </a:cubicBezTo>
                <a:cubicBezTo>
                  <a:pt x="-10291" y="11592025"/>
                  <a:pt x="8328" y="11535074"/>
                  <a:pt x="0" y="11496356"/>
                </a:cubicBezTo>
                <a:cubicBezTo>
                  <a:pt x="-8328" y="11457638"/>
                  <a:pt x="19395" y="11202070"/>
                  <a:pt x="0" y="11045983"/>
                </a:cubicBezTo>
                <a:cubicBezTo>
                  <a:pt x="-19395" y="10889896"/>
                  <a:pt x="33" y="10647179"/>
                  <a:pt x="0" y="10311165"/>
                </a:cubicBezTo>
                <a:cubicBezTo>
                  <a:pt x="-33" y="9975151"/>
                  <a:pt x="89897" y="9791597"/>
                  <a:pt x="0" y="9434123"/>
                </a:cubicBezTo>
                <a:cubicBezTo>
                  <a:pt x="-89897" y="9076649"/>
                  <a:pt x="16264" y="9332430"/>
                  <a:pt x="0" y="9268196"/>
                </a:cubicBezTo>
                <a:cubicBezTo>
                  <a:pt x="-16264" y="9203962"/>
                  <a:pt x="355" y="9157986"/>
                  <a:pt x="0" y="9102269"/>
                </a:cubicBezTo>
                <a:cubicBezTo>
                  <a:pt x="-355" y="9046552"/>
                  <a:pt x="13981" y="8782227"/>
                  <a:pt x="0" y="8509674"/>
                </a:cubicBezTo>
                <a:cubicBezTo>
                  <a:pt x="-13981" y="8237121"/>
                  <a:pt x="750" y="7994553"/>
                  <a:pt x="0" y="7774855"/>
                </a:cubicBezTo>
                <a:cubicBezTo>
                  <a:pt x="-750" y="7555157"/>
                  <a:pt x="31163" y="7470955"/>
                  <a:pt x="0" y="7324482"/>
                </a:cubicBezTo>
                <a:cubicBezTo>
                  <a:pt x="-31163" y="7178009"/>
                  <a:pt x="69652" y="6970388"/>
                  <a:pt x="0" y="6731887"/>
                </a:cubicBezTo>
                <a:cubicBezTo>
                  <a:pt x="-69652" y="6493387"/>
                  <a:pt x="61546" y="6256119"/>
                  <a:pt x="0" y="5854845"/>
                </a:cubicBezTo>
                <a:cubicBezTo>
                  <a:pt x="-61546" y="5453571"/>
                  <a:pt x="21687" y="5630529"/>
                  <a:pt x="0" y="5546695"/>
                </a:cubicBezTo>
                <a:cubicBezTo>
                  <a:pt x="-21687" y="5462861"/>
                  <a:pt x="36794" y="5229587"/>
                  <a:pt x="0" y="4954100"/>
                </a:cubicBezTo>
                <a:cubicBezTo>
                  <a:pt x="-36794" y="4678613"/>
                  <a:pt x="47886" y="4544727"/>
                  <a:pt x="0" y="4219281"/>
                </a:cubicBezTo>
                <a:cubicBezTo>
                  <a:pt x="-47886" y="3893835"/>
                  <a:pt x="50182" y="3860690"/>
                  <a:pt x="0" y="3768908"/>
                </a:cubicBezTo>
                <a:cubicBezTo>
                  <a:pt x="-50182" y="3677126"/>
                  <a:pt x="72513" y="3233845"/>
                  <a:pt x="0" y="3034090"/>
                </a:cubicBezTo>
                <a:cubicBezTo>
                  <a:pt x="-72513" y="2834335"/>
                  <a:pt x="19779" y="2744037"/>
                  <a:pt x="0" y="2583717"/>
                </a:cubicBezTo>
                <a:cubicBezTo>
                  <a:pt x="-19779" y="2423397"/>
                  <a:pt x="37018" y="2345399"/>
                  <a:pt x="0" y="2133344"/>
                </a:cubicBezTo>
                <a:cubicBezTo>
                  <a:pt x="-37018" y="1921289"/>
                  <a:pt x="19776" y="1814971"/>
                  <a:pt x="0" y="1682972"/>
                </a:cubicBezTo>
                <a:cubicBezTo>
                  <a:pt x="-19776" y="1550973"/>
                  <a:pt x="49252" y="1430720"/>
                  <a:pt x="0" y="1232599"/>
                </a:cubicBezTo>
                <a:cubicBezTo>
                  <a:pt x="-49252" y="1034478"/>
                  <a:pt x="66796" y="918808"/>
                  <a:pt x="0" y="640003"/>
                </a:cubicBezTo>
                <a:cubicBezTo>
                  <a:pt x="-66796" y="361198"/>
                  <a:pt x="18091" y="295056"/>
                  <a:pt x="0" y="0"/>
                </a:cubicBezTo>
                <a:close/>
              </a:path>
            </a:pathLst>
          </a:custGeom>
          <a:noFill/>
          <a:ln w="28575">
            <a:solidFill>
              <a:srgbClr val="376E75"/>
            </a:solidFill>
            <a:extLst>
              <a:ext uri="{C807C97D-BFC1-408E-A445-0C87EB9F89A2}">
                <ask:lineSketchStyleProps xmlns:ask="http://schemas.microsoft.com/office/drawing/2018/sketchyshapes" sd="2072721836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7100" dirty="0">
              <a:solidFill>
                <a:srgbClr val="376E75"/>
              </a:solidFill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2CC7DA-3405-9319-586B-73799297EB66}"/>
              </a:ext>
            </a:extLst>
          </p:cNvPr>
          <p:cNvSpPr/>
          <p:nvPr/>
        </p:nvSpPr>
        <p:spPr>
          <a:xfrm>
            <a:off x="14035989" y="6320093"/>
            <a:ext cx="14848737" cy="13955934"/>
          </a:xfrm>
          <a:custGeom>
            <a:avLst/>
            <a:gdLst>
              <a:gd name="csX0" fmla="*/ 0 w 14848737"/>
              <a:gd name="csY0" fmla="*/ 0 h 13955934"/>
              <a:gd name="csX1" fmla="*/ 593949 w 14848737"/>
              <a:gd name="csY1" fmla="*/ 0 h 13955934"/>
              <a:gd name="csX2" fmla="*/ 890924 w 14848737"/>
              <a:gd name="csY2" fmla="*/ 0 h 13955934"/>
              <a:gd name="csX3" fmla="*/ 1781848 w 14848737"/>
              <a:gd name="csY3" fmla="*/ 0 h 13955934"/>
              <a:gd name="csX4" fmla="*/ 2078823 w 14848737"/>
              <a:gd name="csY4" fmla="*/ 0 h 13955934"/>
              <a:gd name="csX5" fmla="*/ 2672773 w 14848737"/>
              <a:gd name="csY5" fmla="*/ 0 h 13955934"/>
              <a:gd name="csX6" fmla="*/ 3415210 w 14848737"/>
              <a:gd name="csY6" fmla="*/ 0 h 13955934"/>
              <a:gd name="csX7" fmla="*/ 3712184 w 14848737"/>
              <a:gd name="csY7" fmla="*/ 0 h 13955934"/>
              <a:gd name="csX8" fmla="*/ 3860672 w 14848737"/>
              <a:gd name="csY8" fmla="*/ 0 h 13955934"/>
              <a:gd name="csX9" fmla="*/ 4009159 w 14848737"/>
              <a:gd name="csY9" fmla="*/ 0 h 13955934"/>
              <a:gd name="csX10" fmla="*/ 4306134 w 14848737"/>
              <a:gd name="csY10" fmla="*/ 0 h 13955934"/>
              <a:gd name="csX11" fmla="*/ 4454621 w 14848737"/>
              <a:gd name="csY11" fmla="*/ 0 h 13955934"/>
              <a:gd name="csX12" fmla="*/ 4603108 w 14848737"/>
              <a:gd name="csY12" fmla="*/ 0 h 13955934"/>
              <a:gd name="csX13" fmla="*/ 4900083 w 14848737"/>
              <a:gd name="csY13" fmla="*/ 0 h 13955934"/>
              <a:gd name="csX14" fmla="*/ 5791007 w 14848737"/>
              <a:gd name="csY14" fmla="*/ 0 h 13955934"/>
              <a:gd name="csX15" fmla="*/ 6384957 w 14848737"/>
              <a:gd name="csY15" fmla="*/ 0 h 13955934"/>
              <a:gd name="csX16" fmla="*/ 6681932 w 14848737"/>
              <a:gd name="csY16" fmla="*/ 0 h 13955934"/>
              <a:gd name="csX17" fmla="*/ 7127394 w 14848737"/>
              <a:gd name="csY17" fmla="*/ 0 h 13955934"/>
              <a:gd name="csX18" fmla="*/ 7572856 w 14848737"/>
              <a:gd name="csY18" fmla="*/ 0 h 13955934"/>
              <a:gd name="csX19" fmla="*/ 8018318 w 14848737"/>
              <a:gd name="csY19" fmla="*/ 0 h 13955934"/>
              <a:gd name="csX20" fmla="*/ 8315293 w 14848737"/>
              <a:gd name="csY20" fmla="*/ 0 h 13955934"/>
              <a:gd name="csX21" fmla="*/ 9206217 w 14848737"/>
              <a:gd name="csY21" fmla="*/ 0 h 13955934"/>
              <a:gd name="csX22" fmla="*/ 9503192 w 14848737"/>
              <a:gd name="csY22" fmla="*/ 0 h 13955934"/>
              <a:gd name="csX23" fmla="*/ 10394116 w 14848737"/>
              <a:gd name="csY23" fmla="*/ 0 h 13955934"/>
              <a:gd name="csX24" fmla="*/ 10839578 w 14848737"/>
              <a:gd name="csY24" fmla="*/ 0 h 13955934"/>
              <a:gd name="csX25" fmla="*/ 11285040 w 14848737"/>
              <a:gd name="csY25" fmla="*/ 0 h 13955934"/>
              <a:gd name="csX26" fmla="*/ 11582015 w 14848737"/>
              <a:gd name="csY26" fmla="*/ 0 h 13955934"/>
              <a:gd name="csX27" fmla="*/ 12324452 w 14848737"/>
              <a:gd name="csY27" fmla="*/ 0 h 13955934"/>
              <a:gd name="csX28" fmla="*/ 12472939 w 14848737"/>
              <a:gd name="csY28" fmla="*/ 0 h 13955934"/>
              <a:gd name="csX29" fmla="*/ 12918401 w 14848737"/>
              <a:gd name="csY29" fmla="*/ 0 h 13955934"/>
              <a:gd name="csX30" fmla="*/ 13512351 w 14848737"/>
              <a:gd name="csY30" fmla="*/ 0 h 13955934"/>
              <a:gd name="csX31" fmla="*/ 13957813 w 14848737"/>
              <a:gd name="csY31" fmla="*/ 0 h 13955934"/>
              <a:gd name="csX32" fmla="*/ 14848737 w 14848737"/>
              <a:gd name="csY32" fmla="*/ 0 h 13955934"/>
              <a:gd name="csX33" fmla="*/ 14848737 w 14848737"/>
              <a:gd name="csY33" fmla="*/ 721057 h 13955934"/>
              <a:gd name="csX34" fmla="*/ 14848737 w 14848737"/>
              <a:gd name="csY34" fmla="*/ 1162995 h 13955934"/>
              <a:gd name="csX35" fmla="*/ 14848737 w 14848737"/>
              <a:gd name="csY35" fmla="*/ 1744492 h 13955934"/>
              <a:gd name="csX36" fmla="*/ 14848737 w 14848737"/>
              <a:gd name="csY36" fmla="*/ 2186430 h 13955934"/>
              <a:gd name="csX37" fmla="*/ 14848737 w 14848737"/>
              <a:gd name="csY37" fmla="*/ 2767927 h 13955934"/>
              <a:gd name="csX38" fmla="*/ 14848737 w 14848737"/>
              <a:gd name="csY38" fmla="*/ 3488984 h 13955934"/>
              <a:gd name="csX39" fmla="*/ 14848737 w 14848737"/>
              <a:gd name="csY39" fmla="*/ 4070481 h 13955934"/>
              <a:gd name="csX40" fmla="*/ 14848737 w 14848737"/>
              <a:gd name="csY40" fmla="*/ 4372859 h 13955934"/>
              <a:gd name="csX41" fmla="*/ 14848737 w 14848737"/>
              <a:gd name="csY41" fmla="*/ 4814797 h 13955934"/>
              <a:gd name="csX42" fmla="*/ 14848737 w 14848737"/>
              <a:gd name="csY42" fmla="*/ 5675413 h 13955934"/>
              <a:gd name="csX43" fmla="*/ 14848737 w 14848737"/>
              <a:gd name="csY43" fmla="*/ 5838232 h 13955934"/>
              <a:gd name="csX44" fmla="*/ 14848737 w 14848737"/>
              <a:gd name="csY44" fmla="*/ 6559289 h 13955934"/>
              <a:gd name="csX45" fmla="*/ 14848737 w 14848737"/>
              <a:gd name="csY45" fmla="*/ 7001227 h 13955934"/>
              <a:gd name="csX46" fmla="*/ 14848737 w 14848737"/>
              <a:gd name="csY46" fmla="*/ 7722283 h 13955934"/>
              <a:gd name="csX47" fmla="*/ 14848737 w 14848737"/>
              <a:gd name="csY47" fmla="*/ 8303781 h 13955934"/>
              <a:gd name="csX48" fmla="*/ 14848737 w 14848737"/>
              <a:gd name="csY48" fmla="*/ 8745719 h 13955934"/>
              <a:gd name="csX49" fmla="*/ 14848737 w 14848737"/>
              <a:gd name="csY49" fmla="*/ 9327216 h 13955934"/>
              <a:gd name="csX50" fmla="*/ 14848737 w 14848737"/>
              <a:gd name="csY50" fmla="*/ 9769154 h 13955934"/>
              <a:gd name="csX51" fmla="*/ 14848737 w 14848737"/>
              <a:gd name="csY51" fmla="*/ 10350651 h 13955934"/>
              <a:gd name="csX52" fmla="*/ 14848737 w 14848737"/>
              <a:gd name="csY52" fmla="*/ 10792589 h 13955934"/>
              <a:gd name="csX53" fmla="*/ 14848737 w 14848737"/>
              <a:gd name="csY53" fmla="*/ 11513646 h 13955934"/>
              <a:gd name="csX54" fmla="*/ 14848737 w 14848737"/>
              <a:gd name="csY54" fmla="*/ 12095143 h 13955934"/>
              <a:gd name="csX55" fmla="*/ 14848737 w 14848737"/>
              <a:gd name="csY55" fmla="*/ 12676640 h 13955934"/>
              <a:gd name="csX56" fmla="*/ 14848737 w 14848737"/>
              <a:gd name="csY56" fmla="*/ 12839459 h 13955934"/>
              <a:gd name="csX57" fmla="*/ 14848737 w 14848737"/>
              <a:gd name="csY57" fmla="*/ 13281397 h 13955934"/>
              <a:gd name="csX58" fmla="*/ 14848737 w 14848737"/>
              <a:gd name="csY58" fmla="*/ 13955934 h 13955934"/>
              <a:gd name="csX59" fmla="*/ 14106300 w 14848737"/>
              <a:gd name="csY59" fmla="*/ 13955934 h 13955934"/>
              <a:gd name="csX60" fmla="*/ 13660838 w 14848737"/>
              <a:gd name="csY60" fmla="*/ 13955934 h 13955934"/>
              <a:gd name="csX61" fmla="*/ 13512351 w 14848737"/>
              <a:gd name="csY61" fmla="*/ 13955934 h 13955934"/>
              <a:gd name="csX62" fmla="*/ 13363863 w 14848737"/>
              <a:gd name="csY62" fmla="*/ 13955934 h 13955934"/>
              <a:gd name="csX63" fmla="*/ 12918401 w 14848737"/>
              <a:gd name="csY63" fmla="*/ 13955934 h 13955934"/>
              <a:gd name="csX64" fmla="*/ 12175964 w 14848737"/>
              <a:gd name="csY64" fmla="*/ 13955934 h 13955934"/>
              <a:gd name="csX65" fmla="*/ 11730502 w 14848737"/>
              <a:gd name="csY65" fmla="*/ 13955934 h 13955934"/>
              <a:gd name="csX66" fmla="*/ 11285040 w 14848737"/>
              <a:gd name="csY66" fmla="*/ 13955934 h 13955934"/>
              <a:gd name="csX67" fmla="*/ 10542603 w 14848737"/>
              <a:gd name="csY67" fmla="*/ 13955934 h 13955934"/>
              <a:gd name="csX68" fmla="*/ 10245629 w 14848737"/>
              <a:gd name="csY68" fmla="*/ 13955934 h 13955934"/>
              <a:gd name="csX69" fmla="*/ 10097141 w 14848737"/>
              <a:gd name="csY69" fmla="*/ 13955934 h 13955934"/>
              <a:gd name="csX70" fmla="*/ 9800166 w 14848737"/>
              <a:gd name="csY70" fmla="*/ 13955934 h 13955934"/>
              <a:gd name="csX71" fmla="*/ 9503192 w 14848737"/>
              <a:gd name="csY71" fmla="*/ 13955934 h 13955934"/>
              <a:gd name="csX72" fmla="*/ 8909242 w 14848737"/>
              <a:gd name="csY72" fmla="*/ 13955934 h 13955934"/>
              <a:gd name="csX73" fmla="*/ 8612267 w 14848737"/>
              <a:gd name="csY73" fmla="*/ 13955934 h 13955934"/>
              <a:gd name="csX74" fmla="*/ 7721343 w 14848737"/>
              <a:gd name="csY74" fmla="*/ 13955934 h 13955934"/>
              <a:gd name="csX75" fmla="*/ 6830419 w 14848737"/>
              <a:gd name="csY75" fmla="*/ 13955934 h 13955934"/>
              <a:gd name="csX76" fmla="*/ 6236470 w 14848737"/>
              <a:gd name="csY76" fmla="*/ 13955934 h 13955934"/>
              <a:gd name="csX77" fmla="*/ 5642520 w 14848737"/>
              <a:gd name="csY77" fmla="*/ 13955934 h 13955934"/>
              <a:gd name="csX78" fmla="*/ 5048571 w 14848737"/>
              <a:gd name="csY78" fmla="*/ 13955934 h 13955934"/>
              <a:gd name="csX79" fmla="*/ 4751596 w 14848737"/>
              <a:gd name="csY79" fmla="*/ 13955934 h 13955934"/>
              <a:gd name="csX80" fmla="*/ 4454621 w 14848737"/>
              <a:gd name="csY80" fmla="*/ 13955934 h 13955934"/>
              <a:gd name="csX81" fmla="*/ 4009159 w 14848737"/>
              <a:gd name="csY81" fmla="*/ 13955934 h 13955934"/>
              <a:gd name="csX82" fmla="*/ 3266722 w 14848737"/>
              <a:gd name="csY82" fmla="*/ 13955934 h 13955934"/>
              <a:gd name="csX83" fmla="*/ 2375798 w 14848737"/>
              <a:gd name="csY83" fmla="*/ 13955934 h 13955934"/>
              <a:gd name="csX84" fmla="*/ 2227311 w 14848737"/>
              <a:gd name="csY84" fmla="*/ 13955934 h 13955934"/>
              <a:gd name="csX85" fmla="*/ 1484874 w 14848737"/>
              <a:gd name="csY85" fmla="*/ 13955934 h 13955934"/>
              <a:gd name="csX86" fmla="*/ 1039412 w 14848737"/>
              <a:gd name="csY86" fmla="*/ 13955934 h 13955934"/>
              <a:gd name="csX87" fmla="*/ 890924 w 14848737"/>
              <a:gd name="csY87" fmla="*/ 13955934 h 13955934"/>
              <a:gd name="csX88" fmla="*/ 0 w 14848737"/>
              <a:gd name="csY88" fmla="*/ 13955934 h 13955934"/>
              <a:gd name="csX89" fmla="*/ 0 w 14848737"/>
              <a:gd name="csY89" fmla="*/ 13653555 h 13955934"/>
              <a:gd name="csX90" fmla="*/ 0 w 14848737"/>
              <a:gd name="csY90" fmla="*/ 13490736 h 13955934"/>
              <a:gd name="csX91" fmla="*/ 0 w 14848737"/>
              <a:gd name="csY91" fmla="*/ 13188358 h 13955934"/>
              <a:gd name="csX92" fmla="*/ 0 w 14848737"/>
              <a:gd name="csY92" fmla="*/ 12746420 h 13955934"/>
              <a:gd name="csX93" fmla="*/ 0 w 14848737"/>
              <a:gd name="csY93" fmla="*/ 11885804 h 13955934"/>
              <a:gd name="csX94" fmla="*/ 0 w 14848737"/>
              <a:gd name="csY94" fmla="*/ 11304307 h 13955934"/>
              <a:gd name="csX95" fmla="*/ 0 w 14848737"/>
              <a:gd name="csY95" fmla="*/ 11141487 h 13955934"/>
              <a:gd name="csX96" fmla="*/ 0 w 14848737"/>
              <a:gd name="csY96" fmla="*/ 10839109 h 13955934"/>
              <a:gd name="csX97" fmla="*/ 0 w 14848737"/>
              <a:gd name="csY97" fmla="*/ 10397171 h 13955934"/>
              <a:gd name="csX98" fmla="*/ 0 w 14848737"/>
              <a:gd name="csY98" fmla="*/ 9676114 h 13955934"/>
              <a:gd name="csX99" fmla="*/ 0 w 14848737"/>
              <a:gd name="csY99" fmla="*/ 9373736 h 13955934"/>
              <a:gd name="csX100" fmla="*/ 0 w 14848737"/>
              <a:gd name="csY100" fmla="*/ 8652679 h 13955934"/>
              <a:gd name="csX101" fmla="*/ 0 w 14848737"/>
              <a:gd name="csY101" fmla="*/ 7792063 h 13955934"/>
              <a:gd name="csX102" fmla="*/ 0 w 14848737"/>
              <a:gd name="csY102" fmla="*/ 7210566 h 13955934"/>
              <a:gd name="csX103" fmla="*/ 0 w 14848737"/>
              <a:gd name="csY103" fmla="*/ 6908187 h 13955934"/>
              <a:gd name="csX104" fmla="*/ 0 w 14848737"/>
              <a:gd name="csY104" fmla="*/ 6326690 h 13955934"/>
              <a:gd name="csX105" fmla="*/ 0 w 14848737"/>
              <a:gd name="csY105" fmla="*/ 5466074 h 13955934"/>
              <a:gd name="csX106" fmla="*/ 0 w 14848737"/>
              <a:gd name="csY106" fmla="*/ 4745018 h 13955934"/>
              <a:gd name="csX107" fmla="*/ 0 w 14848737"/>
              <a:gd name="csY107" fmla="*/ 4303080 h 13955934"/>
              <a:gd name="csX108" fmla="*/ 0 w 14848737"/>
              <a:gd name="csY108" fmla="*/ 4140260 h 13955934"/>
              <a:gd name="csX109" fmla="*/ 0 w 14848737"/>
              <a:gd name="csY109" fmla="*/ 3837882 h 13955934"/>
              <a:gd name="csX110" fmla="*/ 0 w 14848737"/>
              <a:gd name="csY110" fmla="*/ 3675063 h 13955934"/>
              <a:gd name="csX111" fmla="*/ 0 w 14848737"/>
              <a:gd name="csY111" fmla="*/ 2814447 h 13955934"/>
              <a:gd name="csX112" fmla="*/ 0 w 14848737"/>
              <a:gd name="csY112" fmla="*/ 2232949 h 13955934"/>
              <a:gd name="csX113" fmla="*/ 0 w 14848737"/>
              <a:gd name="csY113" fmla="*/ 1372334 h 13955934"/>
              <a:gd name="csX114" fmla="*/ 0 w 14848737"/>
              <a:gd name="csY114" fmla="*/ 1069955 h 13955934"/>
              <a:gd name="csX115" fmla="*/ 0 w 14848737"/>
              <a:gd name="csY115" fmla="*/ 0 h 139559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</a:cxnLst>
            <a:rect l="l" t="t" r="r" b="b"/>
            <a:pathLst>
              <a:path w="14848737" h="13955934" fill="none" extrusionOk="0">
                <a:moveTo>
                  <a:pt x="0" y="0"/>
                </a:moveTo>
                <a:cubicBezTo>
                  <a:pt x="220722" y="-27943"/>
                  <a:pt x="320085" y="34861"/>
                  <a:pt x="593949" y="0"/>
                </a:cubicBezTo>
                <a:cubicBezTo>
                  <a:pt x="867813" y="-34861"/>
                  <a:pt x="783878" y="709"/>
                  <a:pt x="890924" y="0"/>
                </a:cubicBezTo>
                <a:cubicBezTo>
                  <a:pt x="997970" y="-709"/>
                  <a:pt x="1490182" y="87452"/>
                  <a:pt x="1781848" y="0"/>
                </a:cubicBezTo>
                <a:cubicBezTo>
                  <a:pt x="2073514" y="-87452"/>
                  <a:pt x="2003779" y="16128"/>
                  <a:pt x="2078823" y="0"/>
                </a:cubicBezTo>
                <a:cubicBezTo>
                  <a:pt x="2153867" y="-16128"/>
                  <a:pt x="2464193" y="62466"/>
                  <a:pt x="2672773" y="0"/>
                </a:cubicBezTo>
                <a:cubicBezTo>
                  <a:pt x="2881353" y="-62466"/>
                  <a:pt x="3054578" y="30240"/>
                  <a:pt x="3415210" y="0"/>
                </a:cubicBezTo>
                <a:cubicBezTo>
                  <a:pt x="3775842" y="-30240"/>
                  <a:pt x="3620331" y="20748"/>
                  <a:pt x="3712184" y="0"/>
                </a:cubicBezTo>
                <a:cubicBezTo>
                  <a:pt x="3804037" y="-20748"/>
                  <a:pt x="3802852" y="17556"/>
                  <a:pt x="3860672" y="0"/>
                </a:cubicBezTo>
                <a:cubicBezTo>
                  <a:pt x="3918492" y="-17556"/>
                  <a:pt x="3974437" y="872"/>
                  <a:pt x="4009159" y="0"/>
                </a:cubicBezTo>
                <a:cubicBezTo>
                  <a:pt x="4043881" y="-872"/>
                  <a:pt x="4207020" y="13001"/>
                  <a:pt x="4306134" y="0"/>
                </a:cubicBezTo>
                <a:cubicBezTo>
                  <a:pt x="4405249" y="-13001"/>
                  <a:pt x="4392965" y="1917"/>
                  <a:pt x="4454621" y="0"/>
                </a:cubicBezTo>
                <a:cubicBezTo>
                  <a:pt x="4516277" y="-1917"/>
                  <a:pt x="4537545" y="11462"/>
                  <a:pt x="4603108" y="0"/>
                </a:cubicBezTo>
                <a:cubicBezTo>
                  <a:pt x="4668671" y="-11462"/>
                  <a:pt x="4837066" y="11840"/>
                  <a:pt x="4900083" y="0"/>
                </a:cubicBezTo>
                <a:cubicBezTo>
                  <a:pt x="4963101" y="-11840"/>
                  <a:pt x="5464216" y="89254"/>
                  <a:pt x="5791007" y="0"/>
                </a:cubicBezTo>
                <a:cubicBezTo>
                  <a:pt x="6117798" y="-89254"/>
                  <a:pt x="6164515" y="67362"/>
                  <a:pt x="6384957" y="0"/>
                </a:cubicBezTo>
                <a:cubicBezTo>
                  <a:pt x="6605399" y="-67362"/>
                  <a:pt x="6544078" y="15423"/>
                  <a:pt x="6681932" y="0"/>
                </a:cubicBezTo>
                <a:cubicBezTo>
                  <a:pt x="6819786" y="-15423"/>
                  <a:pt x="6989044" y="37617"/>
                  <a:pt x="7127394" y="0"/>
                </a:cubicBezTo>
                <a:cubicBezTo>
                  <a:pt x="7265744" y="-37617"/>
                  <a:pt x="7481263" y="43123"/>
                  <a:pt x="7572856" y="0"/>
                </a:cubicBezTo>
                <a:cubicBezTo>
                  <a:pt x="7664449" y="-43123"/>
                  <a:pt x="7852646" y="36657"/>
                  <a:pt x="8018318" y="0"/>
                </a:cubicBezTo>
                <a:cubicBezTo>
                  <a:pt x="8183990" y="-36657"/>
                  <a:pt x="8220209" y="8279"/>
                  <a:pt x="8315293" y="0"/>
                </a:cubicBezTo>
                <a:cubicBezTo>
                  <a:pt x="8410377" y="-8279"/>
                  <a:pt x="8914106" y="57252"/>
                  <a:pt x="9206217" y="0"/>
                </a:cubicBezTo>
                <a:cubicBezTo>
                  <a:pt x="9498328" y="-57252"/>
                  <a:pt x="9438618" y="8427"/>
                  <a:pt x="9503192" y="0"/>
                </a:cubicBezTo>
                <a:cubicBezTo>
                  <a:pt x="9567766" y="-8427"/>
                  <a:pt x="10053526" y="77168"/>
                  <a:pt x="10394116" y="0"/>
                </a:cubicBezTo>
                <a:cubicBezTo>
                  <a:pt x="10734706" y="-77168"/>
                  <a:pt x="10654680" y="7274"/>
                  <a:pt x="10839578" y="0"/>
                </a:cubicBezTo>
                <a:cubicBezTo>
                  <a:pt x="11024476" y="-7274"/>
                  <a:pt x="11175446" y="25743"/>
                  <a:pt x="11285040" y="0"/>
                </a:cubicBezTo>
                <a:cubicBezTo>
                  <a:pt x="11394634" y="-25743"/>
                  <a:pt x="11469758" y="29342"/>
                  <a:pt x="11582015" y="0"/>
                </a:cubicBezTo>
                <a:cubicBezTo>
                  <a:pt x="11694273" y="-29342"/>
                  <a:pt x="12013124" y="78587"/>
                  <a:pt x="12324452" y="0"/>
                </a:cubicBezTo>
                <a:cubicBezTo>
                  <a:pt x="12635780" y="-78587"/>
                  <a:pt x="12421590" y="7097"/>
                  <a:pt x="12472939" y="0"/>
                </a:cubicBezTo>
                <a:cubicBezTo>
                  <a:pt x="12524288" y="-7097"/>
                  <a:pt x="12736995" y="2381"/>
                  <a:pt x="12918401" y="0"/>
                </a:cubicBezTo>
                <a:cubicBezTo>
                  <a:pt x="13099807" y="-2381"/>
                  <a:pt x="13313666" y="11180"/>
                  <a:pt x="13512351" y="0"/>
                </a:cubicBezTo>
                <a:cubicBezTo>
                  <a:pt x="13711036" y="-11180"/>
                  <a:pt x="13797295" y="41449"/>
                  <a:pt x="13957813" y="0"/>
                </a:cubicBezTo>
                <a:cubicBezTo>
                  <a:pt x="14118331" y="-41449"/>
                  <a:pt x="14480118" y="61215"/>
                  <a:pt x="14848737" y="0"/>
                </a:cubicBezTo>
                <a:cubicBezTo>
                  <a:pt x="14884798" y="168300"/>
                  <a:pt x="14792774" y="572219"/>
                  <a:pt x="14848737" y="721057"/>
                </a:cubicBezTo>
                <a:cubicBezTo>
                  <a:pt x="14904700" y="869895"/>
                  <a:pt x="14842577" y="1070448"/>
                  <a:pt x="14848737" y="1162995"/>
                </a:cubicBezTo>
                <a:cubicBezTo>
                  <a:pt x="14854897" y="1255542"/>
                  <a:pt x="14831897" y="1496188"/>
                  <a:pt x="14848737" y="1744492"/>
                </a:cubicBezTo>
                <a:cubicBezTo>
                  <a:pt x="14865577" y="1992796"/>
                  <a:pt x="14816284" y="2046762"/>
                  <a:pt x="14848737" y="2186430"/>
                </a:cubicBezTo>
                <a:cubicBezTo>
                  <a:pt x="14881190" y="2326098"/>
                  <a:pt x="14835506" y="2493510"/>
                  <a:pt x="14848737" y="2767927"/>
                </a:cubicBezTo>
                <a:cubicBezTo>
                  <a:pt x="14861968" y="3042344"/>
                  <a:pt x="14811790" y="3209108"/>
                  <a:pt x="14848737" y="3488984"/>
                </a:cubicBezTo>
                <a:cubicBezTo>
                  <a:pt x="14885684" y="3768860"/>
                  <a:pt x="14836940" y="3922340"/>
                  <a:pt x="14848737" y="4070481"/>
                </a:cubicBezTo>
                <a:cubicBezTo>
                  <a:pt x="14860534" y="4218622"/>
                  <a:pt x="14817769" y="4302690"/>
                  <a:pt x="14848737" y="4372859"/>
                </a:cubicBezTo>
                <a:cubicBezTo>
                  <a:pt x="14879705" y="4443028"/>
                  <a:pt x="14800168" y="4676845"/>
                  <a:pt x="14848737" y="4814797"/>
                </a:cubicBezTo>
                <a:cubicBezTo>
                  <a:pt x="14897306" y="4952749"/>
                  <a:pt x="14833919" y="5413569"/>
                  <a:pt x="14848737" y="5675413"/>
                </a:cubicBezTo>
                <a:cubicBezTo>
                  <a:pt x="14863555" y="5937257"/>
                  <a:pt x="14832302" y="5790496"/>
                  <a:pt x="14848737" y="5838232"/>
                </a:cubicBezTo>
                <a:cubicBezTo>
                  <a:pt x="14865172" y="5885968"/>
                  <a:pt x="14786586" y="6264717"/>
                  <a:pt x="14848737" y="6559289"/>
                </a:cubicBezTo>
                <a:cubicBezTo>
                  <a:pt x="14910888" y="6853861"/>
                  <a:pt x="14827631" y="6840987"/>
                  <a:pt x="14848737" y="7001227"/>
                </a:cubicBezTo>
                <a:cubicBezTo>
                  <a:pt x="14869843" y="7161467"/>
                  <a:pt x="14799353" y="7413788"/>
                  <a:pt x="14848737" y="7722283"/>
                </a:cubicBezTo>
                <a:cubicBezTo>
                  <a:pt x="14898121" y="8030778"/>
                  <a:pt x="14801302" y="8113260"/>
                  <a:pt x="14848737" y="8303781"/>
                </a:cubicBezTo>
                <a:cubicBezTo>
                  <a:pt x="14896172" y="8494302"/>
                  <a:pt x="14806767" y="8623712"/>
                  <a:pt x="14848737" y="8745719"/>
                </a:cubicBezTo>
                <a:cubicBezTo>
                  <a:pt x="14890707" y="8867726"/>
                  <a:pt x="14805704" y="9063413"/>
                  <a:pt x="14848737" y="9327216"/>
                </a:cubicBezTo>
                <a:cubicBezTo>
                  <a:pt x="14891770" y="9591019"/>
                  <a:pt x="14810316" y="9560343"/>
                  <a:pt x="14848737" y="9769154"/>
                </a:cubicBezTo>
                <a:cubicBezTo>
                  <a:pt x="14887158" y="9977965"/>
                  <a:pt x="14808125" y="10082481"/>
                  <a:pt x="14848737" y="10350651"/>
                </a:cubicBezTo>
                <a:cubicBezTo>
                  <a:pt x="14889349" y="10618821"/>
                  <a:pt x="14807274" y="10676437"/>
                  <a:pt x="14848737" y="10792589"/>
                </a:cubicBezTo>
                <a:cubicBezTo>
                  <a:pt x="14890200" y="10908741"/>
                  <a:pt x="14800814" y="11261431"/>
                  <a:pt x="14848737" y="11513646"/>
                </a:cubicBezTo>
                <a:cubicBezTo>
                  <a:pt x="14896660" y="11765861"/>
                  <a:pt x="14795233" y="11910747"/>
                  <a:pt x="14848737" y="12095143"/>
                </a:cubicBezTo>
                <a:cubicBezTo>
                  <a:pt x="14902241" y="12279539"/>
                  <a:pt x="14809437" y="12554954"/>
                  <a:pt x="14848737" y="12676640"/>
                </a:cubicBezTo>
                <a:cubicBezTo>
                  <a:pt x="14888037" y="12798326"/>
                  <a:pt x="14832398" y="12787370"/>
                  <a:pt x="14848737" y="12839459"/>
                </a:cubicBezTo>
                <a:cubicBezTo>
                  <a:pt x="14865076" y="12891548"/>
                  <a:pt x="14817281" y="13157829"/>
                  <a:pt x="14848737" y="13281397"/>
                </a:cubicBezTo>
                <a:cubicBezTo>
                  <a:pt x="14880193" y="13404965"/>
                  <a:pt x="14841515" y="13806725"/>
                  <a:pt x="14848737" y="13955934"/>
                </a:cubicBezTo>
                <a:cubicBezTo>
                  <a:pt x="14565200" y="13968793"/>
                  <a:pt x="14467342" y="13925639"/>
                  <a:pt x="14106300" y="13955934"/>
                </a:cubicBezTo>
                <a:cubicBezTo>
                  <a:pt x="13745258" y="13986229"/>
                  <a:pt x="13808878" y="13955510"/>
                  <a:pt x="13660838" y="13955934"/>
                </a:cubicBezTo>
                <a:cubicBezTo>
                  <a:pt x="13512798" y="13956358"/>
                  <a:pt x="13562659" y="13946112"/>
                  <a:pt x="13512351" y="13955934"/>
                </a:cubicBezTo>
                <a:cubicBezTo>
                  <a:pt x="13462043" y="13965756"/>
                  <a:pt x="13406310" y="13941930"/>
                  <a:pt x="13363863" y="13955934"/>
                </a:cubicBezTo>
                <a:cubicBezTo>
                  <a:pt x="13321416" y="13969938"/>
                  <a:pt x="13024220" y="13940606"/>
                  <a:pt x="12918401" y="13955934"/>
                </a:cubicBezTo>
                <a:cubicBezTo>
                  <a:pt x="12812582" y="13971262"/>
                  <a:pt x="12479428" y="13903125"/>
                  <a:pt x="12175964" y="13955934"/>
                </a:cubicBezTo>
                <a:cubicBezTo>
                  <a:pt x="11872500" y="14008743"/>
                  <a:pt x="11872046" y="13905240"/>
                  <a:pt x="11730502" y="13955934"/>
                </a:cubicBezTo>
                <a:cubicBezTo>
                  <a:pt x="11588958" y="14006628"/>
                  <a:pt x="11429018" y="13907280"/>
                  <a:pt x="11285040" y="13955934"/>
                </a:cubicBezTo>
                <a:cubicBezTo>
                  <a:pt x="11141062" y="14004588"/>
                  <a:pt x="10750651" y="13878870"/>
                  <a:pt x="10542603" y="13955934"/>
                </a:cubicBezTo>
                <a:cubicBezTo>
                  <a:pt x="10334555" y="14032998"/>
                  <a:pt x="10371440" y="13934089"/>
                  <a:pt x="10245629" y="13955934"/>
                </a:cubicBezTo>
                <a:cubicBezTo>
                  <a:pt x="10119818" y="13977779"/>
                  <a:pt x="10140158" y="13939286"/>
                  <a:pt x="10097141" y="13955934"/>
                </a:cubicBezTo>
                <a:cubicBezTo>
                  <a:pt x="10054124" y="13972582"/>
                  <a:pt x="9878564" y="13946845"/>
                  <a:pt x="9800166" y="13955934"/>
                </a:cubicBezTo>
                <a:cubicBezTo>
                  <a:pt x="9721769" y="13965023"/>
                  <a:pt x="9625561" y="13945616"/>
                  <a:pt x="9503192" y="13955934"/>
                </a:cubicBezTo>
                <a:cubicBezTo>
                  <a:pt x="9380823" y="13966252"/>
                  <a:pt x="9189343" y="13922488"/>
                  <a:pt x="8909242" y="13955934"/>
                </a:cubicBezTo>
                <a:cubicBezTo>
                  <a:pt x="8629141" y="13989380"/>
                  <a:pt x="8678062" y="13945729"/>
                  <a:pt x="8612267" y="13955934"/>
                </a:cubicBezTo>
                <a:cubicBezTo>
                  <a:pt x="8546473" y="13966139"/>
                  <a:pt x="7900651" y="13949548"/>
                  <a:pt x="7721343" y="13955934"/>
                </a:cubicBezTo>
                <a:cubicBezTo>
                  <a:pt x="7542035" y="13962320"/>
                  <a:pt x="7175412" y="13934923"/>
                  <a:pt x="6830419" y="13955934"/>
                </a:cubicBezTo>
                <a:cubicBezTo>
                  <a:pt x="6485426" y="13976945"/>
                  <a:pt x="6453783" y="13896077"/>
                  <a:pt x="6236470" y="13955934"/>
                </a:cubicBezTo>
                <a:cubicBezTo>
                  <a:pt x="6019157" y="14015791"/>
                  <a:pt x="5838771" y="13925562"/>
                  <a:pt x="5642520" y="13955934"/>
                </a:cubicBezTo>
                <a:cubicBezTo>
                  <a:pt x="5446269" y="13986306"/>
                  <a:pt x="5171234" y="13939658"/>
                  <a:pt x="5048571" y="13955934"/>
                </a:cubicBezTo>
                <a:cubicBezTo>
                  <a:pt x="4925908" y="13972210"/>
                  <a:pt x="4820033" y="13930242"/>
                  <a:pt x="4751596" y="13955934"/>
                </a:cubicBezTo>
                <a:cubicBezTo>
                  <a:pt x="4683159" y="13981626"/>
                  <a:pt x="4533803" y="13926805"/>
                  <a:pt x="4454621" y="13955934"/>
                </a:cubicBezTo>
                <a:cubicBezTo>
                  <a:pt x="4375439" y="13985063"/>
                  <a:pt x="4182635" y="13904023"/>
                  <a:pt x="4009159" y="13955934"/>
                </a:cubicBezTo>
                <a:cubicBezTo>
                  <a:pt x="3835683" y="14007845"/>
                  <a:pt x="3634442" y="13915146"/>
                  <a:pt x="3266722" y="13955934"/>
                </a:cubicBezTo>
                <a:cubicBezTo>
                  <a:pt x="2899002" y="13996722"/>
                  <a:pt x="2685472" y="13866553"/>
                  <a:pt x="2375798" y="13955934"/>
                </a:cubicBezTo>
                <a:cubicBezTo>
                  <a:pt x="2066124" y="14045315"/>
                  <a:pt x="2262602" y="13943704"/>
                  <a:pt x="2227311" y="13955934"/>
                </a:cubicBezTo>
                <a:cubicBezTo>
                  <a:pt x="2192020" y="13968164"/>
                  <a:pt x="1661248" y="13945734"/>
                  <a:pt x="1484874" y="13955934"/>
                </a:cubicBezTo>
                <a:cubicBezTo>
                  <a:pt x="1308500" y="13966134"/>
                  <a:pt x="1168966" y="13949942"/>
                  <a:pt x="1039412" y="13955934"/>
                </a:cubicBezTo>
                <a:cubicBezTo>
                  <a:pt x="909858" y="13961926"/>
                  <a:pt x="937825" y="13938564"/>
                  <a:pt x="890924" y="13955934"/>
                </a:cubicBezTo>
                <a:cubicBezTo>
                  <a:pt x="844023" y="13973304"/>
                  <a:pt x="238552" y="13857759"/>
                  <a:pt x="0" y="13955934"/>
                </a:cubicBezTo>
                <a:cubicBezTo>
                  <a:pt x="-3020" y="13861217"/>
                  <a:pt x="16115" y="13718945"/>
                  <a:pt x="0" y="13653555"/>
                </a:cubicBezTo>
                <a:cubicBezTo>
                  <a:pt x="-16115" y="13588165"/>
                  <a:pt x="15944" y="13533968"/>
                  <a:pt x="0" y="13490736"/>
                </a:cubicBezTo>
                <a:cubicBezTo>
                  <a:pt x="-15944" y="13447504"/>
                  <a:pt x="10316" y="13326341"/>
                  <a:pt x="0" y="13188358"/>
                </a:cubicBezTo>
                <a:cubicBezTo>
                  <a:pt x="-10316" y="13050375"/>
                  <a:pt x="3147" y="12943714"/>
                  <a:pt x="0" y="12746420"/>
                </a:cubicBezTo>
                <a:cubicBezTo>
                  <a:pt x="-3147" y="12549126"/>
                  <a:pt x="27217" y="12193438"/>
                  <a:pt x="0" y="11885804"/>
                </a:cubicBezTo>
                <a:cubicBezTo>
                  <a:pt x="-27217" y="11578170"/>
                  <a:pt x="41093" y="11429469"/>
                  <a:pt x="0" y="11304307"/>
                </a:cubicBezTo>
                <a:cubicBezTo>
                  <a:pt x="-41093" y="11179145"/>
                  <a:pt x="919" y="11178492"/>
                  <a:pt x="0" y="11141487"/>
                </a:cubicBezTo>
                <a:cubicBezTo>
                  <a:pt x="-919" y="11104482"/>
                  <a:pt x="22278" y="10932318"/>
                  <a:pt x="0" y="10839109"/>
                </a:cubicBezTo>
                <a:cubicBezTo>
                  <a:pt x="-22278" y="10745900"/>
                  <a:pt x="5628" y="10516354"/>
                  <a:pt x="0" y="10397171"/>
                </a:cubicBezTo>
                <a:cubicBezTo>
                  <a:pt x="-5628" y="10277988"/>
                  <a:pt x="65819" y="9885381"/>
                  <a:pt x="0" y="9676114"/>
                </a:cubicBezTo>
                <a:cubicBezTo>
                  <a:pt x="-65819" y="9466847"/>
                  <a:pt x="16031" y="9499285"/>
                  <a:pt x="0" y="9373736"/>
                </a:cubicBezTo>
                <a:cubicBezTo>
                  <a:pt x="-16031" y="9248187"/>
                  <a:pt x="52972" y="8910781"/>
                  <a:pt x="0" y="8652679"/>
                </a:cubicBezTo>
                <a:cubicBezTo>
                  <a:pt x="-52972" y="8394577"/>
                  <a:pt x="4198" y="7964365"/>
                  <a:pt x="0" y="7792063"/>
                </a:cubicBezTo>
                <a:cubicBezTo>
                  <a:pt x="-4198" y="7619761"/>
                  <a:pt x="1611" y="7393892"/>
                  <a:pt x="0" y="7210566"/>
                </a:cubicBezTo>
                <a:cubicBezTo>
                  <a:pt x="-1611" y="7027240"/>
                  <a:pt x="23392" y="7017907"/>
                  <a:pt x="0" y="6908187"/>
                </a:cubicBezTo>
                <a:cubicBezTo>
                  <a:pt x="-23392" y="6798467"/>
                  <a:pt x="24179" y="6610639"/>
                  <a:pt x="0" y="6326690"/>
                </a:cubicBezTo>
                <a:cubicBezTo>
                  <a:pt x="-24179" y="6042741"/>
                  <a:pt x="4732" y="5671540"/>
                  <a:pt x="0" y="5466074"/>
                </a:cubicBezTo>
                <a:cubicBezTo>
                  <a:pt x="-4732" y="5260608"/>
                  <a:pt x="76299" y="5017192"/>
                  <a:pt x="0" y="4745018"/>
                </a:cubicBezTo>
                <a:cubicBezTo>
                  <a:pt x="-76299" y="4472844"/>
                  <a:pt x="5037" y="4442523"/>
                  <a:pt x="0" y="4303080"/>
                </a:cubicBezTo>
                <a:cubicBezTo>
                  <a:pt x="-5037" y="4163637"/>
                  <a:pt x="17897" y="4183193"/>
                  <a:pt x="0" y="4140260"/>
                </a:cubicBezTo>
                <a:cubicBezTo>
                  <a:pt x="-17897" y="4097327"/>
                  <a:pt x="11642" y="3949048"/>
                  <a:pt x="0" y="3837882"/>
                </a:cubicBezTo>
                <a:cubicBezTo>
                  <a:pt x="-11642" y="3726716"/>
                  <a:pt x="12418" y="3721140"/>
                  <a:pt x="0" y="3675063"/>
                </a:cubicBezTo>
                <a:cubicBezTo>
                  <a:pt x="-12418" y="3628986"/>
                  <a:pt x="83617" y="3238156"/>
                  <a:pt x="0" y="2814447"/>
                </a:cubicBezTo>
                <a:cubicBezTo>
                  <a:pt x="-83617" y="2390738"/>
                  <a:pt x="47800" y="2381495"/>
                  <a:pt x="0" y="2232949"/>
                </a:cubicBezTo>
                <a:cubicBezTo>
                  <a:pt x="-47800" y="2084403"/>
                  <a:pt x="84136" y="1675127"/>
                  <a:pt x="0" y="1372334"/>
                </a:cubicBezTo>
                <a:cubicBezTo>
                  <a:pt x="-84136" y="1069542"/>
                  <a:pt x="1659" y="1159667"/>
                  <a:pt x="0" y="1069955"/>
                </a:cubicBezTo>
                <a:cubicBezTo>
                  <a:pt x="-1659" y="980243"/>
                  <a:pt x="64543" y="507106"/>
                  <a:pt x="0" y="0"/>
                </a:cubicBezTo>
                <a:close/>
              </a:path>
              <a:path w="14848737" h="13955934" stroke="0" extrusionOk="0">
                <a:moveTo>
                  <a:pt x="0" y="0"/>
                </a:moveTo>
                <a:cubicBezTo>
                  <a:pt x="40067" y="-7992"/>
                  <a:pt x="95240" y="3842"/>
                  <a:pt x="148487" y="0"/>
                </a:cubicBezTo>
                <a:cubicBezTo>
                  <a:pt x="201734" y="-3842"/>
                  <a:pt x="235488" y="4428"/>
                  <a:pt x="296975" y="0"/>
                </a:cubicBezTo>
                <a:cubicBezTo>
                  <a:pt x="358462" y="-4428"/>
                  <a:pt x="862923" y="79767"/>
                  <a:pt x="1039412" y="0"/>
                </a:cubicBezTo>
                <a:cubicBezTo>
                  <a:pt x="1215901" y="-79767"/>
                  <a:pt x="1260308" y="27294"/>
                  <a:pt x="1336386" y="0"/>
                </a:cubicBezTo>
                <a:cubicBezTo>
                  <a:pt x="1412464" y="-27294"/>
                  <a:pt x="1742305" y="63957"/>
                  <a:pt x="1930336" y="0"/>
                </a:cubicBezTo>
                <a:cubicBezTo>
                  <a:pt x="2118367" y="-63957"/>
                  <a:pt x="2100952" y="27851"/>
                  <a:pt x="2227311" y="0"/>
                </a:cubicBezTo>
                <a:cubicBezTo>
                  <a:pt x="2353670" y="-27851"/>
                  <a:pt x="2806530" y="17043"/>
                  <a:pt x="3118235" y="0"/>
                </a:cubicBezTo>
                <a:cubicBezTo>
                  <a:pt x="3429940" y="-17043"/>
                  <a:pt x="3209366" y="6580"/>
                  <a:pt x="3266722" y="0"/>
                </a:cubicBezTo>
                <a:cubicBezTo>
                  <a:pt x="3324078" y="-6580"/>
                  <a:pt x="3815551" y="71077"/>
                  <a:pt x="4009159" y="0"/>
                </a:cubicBezTo>
                <a:cubicBezTo>
                  <a:pt x="4202767" y="-71077"/>
                  <a:pt x="4288807" y="12824"/>
                  <a:pt x="4454621" y="0"/>
                </a:cubicBezTo>
                <a:cubicBezTo>
                  <a:pt x="4620435" y="-12824"/>
                  <a:pt x="4530806" y="9058"/>
                  <a:pt x="4603108" y="0"/>
                </a:cubicBezTo>
                <a:cubicBezTo>
                  <a:pt x="4675410" y="-9058"/>
                  <a:pt x="5058287" y="46695"/>
                  <a:pt x="5494033" y="0"/>
                </a:cubicBezTo>
                <a:cubicBezTo>
                  <a:pt x="5929780" y="-46695"/>
                  <a:pt x="5802714" y="28911"/>
                  <a:pt x="5939495" y="0"/>
                </a:cubicBezTo>
                <a:cubicBezTo>
                  <a:pt x="6076276" y="-28911"/>
                  <a:pt x="6027615" y="6942"/>
                  <a:pt x="6087982" y="0"/>
                </a:cubicBezTo>
                <a:cubicBezTo>
                  <a:pt x="6148349" y="-6942"/>
                  <a:pt x="6435448" y="60002"/>
                  <a:pt x="6681932" y="0"/>
                </a:cubicBezTo>
                <a:cubicBezTo>
                  <a:pt x="6928416" y="-60002"/>
                  <a:pt x="7186984" y="24667"/>
                  <a:pt x="7572856" y="0"/>
                </a:cubicBezTo>
                <a:cubicBezTo>
                  <a:pt x="7958728" y="-24667"/>
                  <a:pt x="8015604" y="30841"/>
                  <a:pt x="8315293" y="0"/>
                </a:cubicBezTo>
                <a:cubicBezTo>
                  <a:pt x="8614982" y="-30841"/>
                  <a:pt x="8566862" y="36930"/>
                  <a:pt x="8760755" y="0"/>
                </a:cubicBezTo>
                <a:cubicBezTo>
                  <a:pt x="8954648" y="-36930"/>
                  <a:pt x="9058015" y="8438"/>
                  <a:pt x="9206217" y="0"/>
                </a:cubicBezTo>
                <a:cubicBezTo>
                  <a:pt x="9354419" y="-8438"/>
                  <a:pt x="9307352" y="399"/>
                  <a:pt x="9354704" y="0"/>
                </a:cubicBezTo>
                <a:cubicBezTo>
                  <a:pt x="9402056" y="-399"/>
                  <a:pt x="9856565" y="89264"/>
                  <a:pt x="10245629" y="0"/>
                </a:cubicBezTo>
                <a:cubicBezTo>
                  <a:pt x="10634694" y="-89264"/>
                  <a:pt x="10424310" y="27108"/>
                  <a:pt x="10542603" y="0"/>
                </a:cubicBezTo>
                <a:cubicBezTo>
                  <a:pt x="10660896" y="-27108"/>
                  <a:pt x="11036331" y="34573"/>
                  <a:pt x="11285040" y="0"/>
                </a:cubicBezTo>
                <a:cubicBezTo>
                  <a:pt x="11533749" y="-34573"/>
                  <a:pt x="11467785" y="5275"/>
                  <a:pt x="11582015" y="0"/>
                </a:cubicBezTo>
                <a:cubicBezTo>
                  <a:pt x="11696245" y="-5275"/>
                  <a:pt x="11657534" y="2554"/>
                  <a:pt x="11730502" y="0"/>
                </a:cubicBezTo>
                <a:cubicBezTo>
                  <a:pt x="11803470" y="-2554"/>
                  <a:pt x="12165814" y="8383"/>
                  <a:pt x="12324452" y="0"/>
                </a:cubicBezTo>
                <a:cubicBezTo>
                  <a:pt x="12483090" y="-8383"/>
                  <a:pt x="12629292" y="5254"/>
                  <a:pt x="12769914" y="0"/>
                </a:cubicBezTo>
                <a:cubicBezTo>
                  <a:pt x="12910536" y="-5254"/>
                  <a:pt x="13109748" y="4568"/>
                  <a:pt x="13215376" y="0"/>
                </a:cubicBezTo>
                <a:cubicBezTo>
                  <a:pt x="13321004" y="-4568"/>
                  <a:pt x="13403951" y="30609"/>
                  <a:pt x="13512351" y="0"/>
                </a:cubicBezTo>
                <a:cubicBezTo>
                  <a:pt x="13620752" y="-30609"/>
                  <a:pt x="13587629" y="8873"/>
                  <a:pt x="13660838" y="0"/>
                </a:cubicBezTo>
                <a:cubicBezTo>
                  <a:pt x="13734047" y="-8873"/>
                  <a:pt x="14337702" y="14308"/>
                  <a:pt x="14848737" y="0"/>
                </a:cubicBezTo>
                <a:cubicBezTo>
                  <a:pt x="14923668" y="309076"/>
                  <a:pt x="14786364" y="564620"/>
                  <a:pt x="14848737" y="721057"/>
                </a:cubicBezTo>
                <a:cubicBezTo>
                  <a:pt x="14911110" y="877494"/>
                  <a:pt x="14830651" y="1032066"/>
                  <a:pt x="14848737" y="1302554"/>
                </a:cubicBezTo>
                <a:cubicBezTo>
                  <a:pt x="14866823" y="1573042"/>
                  <a:pt x="14848251" y="1649596"/>
                  <a:pt x="14848737" y="1744492"/>
                </a:cubicBezTo>
                <a:cubicBezTo>
                  <a:pt x="14849223" y="1839388"/>
                  <a:pt x="14831050" y="2049897"/>
                  <a:pt x="14848737" y="2325989"/>
                </a:cubicBezTo>
                <a:cubicBezTo>
                  <a:pt x="14866424" y="2602081"/>
                  <a:pt x="14826251" y="2765004"/>
                  <a:pt x="14848737" y="2907486"/>
                </a:cubicBezTo>
                <a:cubicBezTo>
                  <a:pt x="14871223" y="3049968"/>
                  <a:pt x="14823719" y="3112173"/>
                  <a:pt x="14848737" y="3209865"/>
                </a:cubicBezTo>
                <a:cubicBezTo>
                  <a:pt x="14873755" y="3307557"/>
                  <a:pt x="14838531" y="3302492"/>
                  <a:pt x="14848737" y="3372684"/>
                </a:cubicBezTo>
                <a:cubicBezTo>
                  <a:pt x="14858943" y="3442876"/>
                  <a:pt x="14804724" y="3811781"/>
                  <a:pt x="14848737" y="3954181"/>
                </a:cubicBezTo>
                <a:cubicBezTo>
                  <a:pt x="14892750" y="4096581"/>
                  <a:pt x="14811123" y="4358645"/>
                  <a:pt x="14848737" y="4535679"/>
                </a:cubicBezTo>
                <a:cubicBezTo>
                  <a:pt x="14886351" y="4712713"/>
                  <a:pt x="14847170" y="4648278"/>
                  <a:pt x="14848737" y="4698498"/>
                </a:cubicBezTo>
                <a:cubicBezTo>
                  <a:pt x="14850304" y="4748718"/>
                  <a:pt x="14845629" y="5243091"/>
                  <a:pt x="14848737" y="5559114"/>
                </a:cubicBezTo>
                <a:cubicBezTo>
                  <a:pt x="14851845" y="5875137"/>
                  <a:pt x="14823572" y="5833156"/>
                  <a:pt x="14848737" y="6001052"/>
                </a:cubicBezTo>
                <a:cubicBezTo>
                  <a:pt x="14873902" y="6168948"/>
                  <a:pt x="14783616" y="6562818"/>
                  <a:pt x="14848737" y="6861668"/>
                </a:cubicBezTo>
                <a:cubicBezTo>
                  <a:pt x="14913858" y="7160518"/>
                  <a:pt x="14763462" y="7410438"/>
                  <a:pt x="14848737" y="7582724"/>
                </a:cubicBezTo>
                <a:cubicBezTo>
                  <a:pt x="14934012" y="7755010"/>
                  <a:pt x="14815711" y="7899303"/>
                  <a:pt x="14848737" y="8024662"/>
                </a:cubicBezTo>
                <a:cubicBezTo>
                  <a:pt x="14881763" y="8150021"/>
                  <a:pt x="14793088" y="8572914"/>
                  <a:pt x="14848737" y="8885278"/>
                </a:cubicBezTo>
                <a:cubicBezTo>
                  <a:pt x="14904386" y="9197642"/>
                  <a:pt x="14806158" y="9107617"/>
                  <a:pt x="14848737" y="9327216"/>
                </a:cubicBezTo>
                <a:cubicBezTo>
                  <a:pt x="14891316" y="9546815"/>
                  <a:pt x="14792626" y="9797185"/>
                  <a:pt x="14848737" y="10187832"/>
                </a:cubicBezTo>
                <a:cubicBezTo>
                  <a:pt x="14904848" y="10578479"/>
                  <a:pt x="14818509" y="10419670"/>
                  <a:pt x="14848737" y="10490210"/>
                </a:cubicBezTo>
                <a:cubicBezTo>
                  <a:pt x="14878965" y="10560750"/>
                  <a:pt x="14847097" y="10900735"/>
                  <a:pt x="14848737" y="11211267"/>
                </a:cubicBezTo>
                <a:cubicBezTo>
                  <a:pt x="14850377" y="11521799"/>
                  <a:pt x="14836869" y="11334336"/>
                  <a:pt x="14848737" y="11374086"/>
                </a:cubicBezTo>
                <a:cubicBezTo>
                  <a:pt x="14860605" y="11413836"/>
                  <a:pt x="14802359" y="11635032"/>
                  <a:pt x="14848737" y="11816024"/>
                </a:cubicBezTo>
                <a:cubicBezTo>
                  <a:pt x="14895115" y="11997016"/>
                  <a:pt x="14814237" y="12336747"/>
                  <a:pt x="14848737" y="12537081"/>
                </a:cubicBezTo>
                <a:cubicBezTo>
                  <a:pt x="14883237" y="12737415"/>
                  <a:pt x="14778345" y="12943720"/>
                  <a:pt x="14848737" y="13258137"/>
                </a:cubicBezTo>
                <a:cubicBezTo>
                  <a:pt x="14919129" y="13572554"/>
                  <a:pt x="14808880" y="13809572"/>
                  <a:pt x="14848737" y="13955934"/>
                </a:cubicBezTo>
                <a:cubicBezTo>
                  <a:pt x="14454704" y="13989587"/>
                  <a:pt x="14303507" y="13931328"/>
                  <a:pt x="13957813" y="13955934"/>
                </a:cubicBezTo>
                <a:cubicBezTo>
                  <a:pt x="13612119" y="13980540"/>
                  <a:pt x="13668009" y="13922967"/>
                  <a:pt x="13512351" y="13955934"/>
                </a:cubicBezTo>
                <a:cubicBezTo>
                  <a:pt x="13356693" y="13988901"/>
                  <a:pt x="13093162" y="13955876"/>
                  <a:pt x="12918401" y="13955934"/>
                </a:cubicBezTo>
                <a:cubicBezTo>
                  <a:pt x="12743640" y="13955992"/>
                  <a:pt x="12483144" y="13867433"/>
                  <a:pt x="12175964" y="13955934"/>
                </a:cubicBezTo>
                <a:cubicBezTo>
                  <a:pt x="11868784" y="14044435"/>
                  <a:pt x="11657092" y="13896040"/>
                  <a:pt x="11285040" y="13955934"/>
                </a:cubicBezTo>
                <a:cubicBezTo>
                  <a:pt x="10912988" y="14015828"/>
                  <a:pt x="10666306" y="13887554"/>
                  <a:pt x="10394116" y="13955934"/>
                </a:cubicBezTo>
                <a:cubicBezTo>
                  <a:pt x="10121926" y="14024314"/>
                  <a:pt x="10058857" y="13953072"/>
                  <a:pt x="9800166" y="13955934"/>
                </a:cubicBezTo>
                <a:cubicBezTo>
                  <a:pt x="9541475" y="13958796"/>
                  <a:pt x="9581492" y="13936868"/>
                  <a:pt x="9503192" y="13955934"/>
                </a:cubicBezTo>
                <a:cubicBezTo>
                  <a:pt x="9424892" y="13975000"/>
                  <a:pt x="9202590" y="13950842"/>
                  <a:pt x="8909242" y="13955934"/>
                </a:cubicBezTo>
                <a:cubicBezTo>
                  <a:pt x="8615894" y="13961026"/>
                  <a:pt x="8536163" y="13944697"/>
                  <a:pt x="8166805" y="13955934"/>
                </a:cubicBezTo>
                <a:cubicBezTo>
                  <a:pt x="7797447" y="13967171"/>
                  <a:pt x="7980603" y="13952879"/>
                  <a:pt x="7869831" y="13955934"/>
                </a:cubicBezTo>
                <a:cubicBezTo>
                  <a:pt x="7759059" y="13958989"/>
                  <a:pt x="7630895" y="13948531"/>
                  <a:pt x="7424369" y="13955934"/>
                </a:cubicBezTo>
                <a:cubicBezTo>
                  <a:pt x="7217843" y="13963337"/>
                  <a:pt x="6970424" y="13889568"/>
                  <a:pt x="6681932" y="13955934"/>
                </a:cubicBezTo>
                <a:cubicBezTo>
                  <a:pt x="6393440" y="14022300"/>
                  <a:pt x="6584348" y="13939766"/>
                  <a:pt x="6533444" y="13955934"/>
                </a:cubicBezTo>
                <a:cubicBezTo>
                  <a:pt x="6482540" y="13972102"/>
                  <a:pt x="6017621" y="13871131"/>
                  <a:pt x="5642520" y="13955934"/>
                </a:cubicBezTo>
                <a:cubicBezTo>
                  <a:pt x="5267419" y="14040737"/>
                  <a:pt x="5232740" y="13879118"/>
                  <a:pt x="4900083" y="13955934"/>
                </a:cubicBezTo>
                <a:cubicBezTo>
                  <a:pt x="4567426" y="14032750"/>
                  <a:pt x="4448928" y="13889009"/>
                  <a:pt x="4009159" y="13955934"/>
                </a:cubicBezTo>
                <a:cubicBezTo>
                  <a:pt x="3569390" y="14022859"/>
                  <a:pt x="3408025" y="13911764"/>
                  <a:pt x="3118235" y="13955934"/>
                </a:cubicBezTo>
                <a:cubicBezTo>
                  <a:pt x="2828445" y="14000104"/>
                  <a:pt x="2652191" y="13932769"/>
                  <a:pt x="2227311" y="13955934"/>
                </a:cubicBezTo>
                <a:cubicBezTo>
                  <a:pt x="1802431" y="13979099"/>
                  <a:pt x="2050838" y="13930114"/>
                  <a:pt x="1930336" y="13955934"/>
                </a:cubicBezTo>
                <a:cubicBezTo>
                  <a:pt x="1809835" y="13981754"/>
                  <a:pt x="1828069" y="13948473"/>
                  <a:pt x="1781848" y="13955934"/>
                </a:cubicBezTo>
                <a:cubicBezTo>
                  <a:pt x="1735627" y="13963395"/>
                  <a:pt x="1209630" y="13907905"/>
                  <a:pt x="1039412" y="13955934"/>
                </a:cubicBezTo>
                <a:cubicBezTo>
                  <a:pt x="869194" y="14003963"/>
                  <a:pt x="932984" y="13944022"/>
                  <a:pt x="890924" y="13955934"/>
                </a:cubicBezTo>
                <a:cubicBezTo>
                  <a:pt x="848864" y="13967846"/>
                  <a:pt x="253229" y="13899730"/>
                  <a:pt x="0" y="13955934"/>
                </a:cubicBezTo>
                <a:cubicBezTo>
                  <a:pt x="-2863" y="13912193"/>
                  <a:pt x="14476" y="13843357"/>
                  <a:pt x="0" y="13793115"/>
                </a:cubicBezTo>
                <a:cubicBezTo>
                  <a:pt x="-14476" y="13742873"/>
                  <a:pt x="6381" y="13604193"/>
                  <a:pt x="0" y="13490736"/>
                </a:cubicBezTo>
                <a:cubicBezTo>
                  <a:pt x="-6381" y="13377279"/>
                  <a:pt x="24998" y="12905223"/>
                  <a:pt x="0" y="12630120"/>
                </a:cubicBezTo>
                <a:cubicBezTo>
                  <a:pt x="-24998" y="12355017"/>
                  <a:pt x="3407" y="12178944"/>
                  <a:pt x="0" y="11909064"/>
                </a:cubicBezTo>
                <a:cubicBezTo>
                  <a:pt x="-3407" y="11639184"/>
                  <a:pt x="35322" y="11697574"/>
                  <a:pt x="0" y="11606685"/>
                </a:cubicBezTo>
                <a:cubicBezTo>
                  <a:pt x="-35322" y="11515796"/>
                  <a:pt x="11287" y="11477673"/>
                  <a:pt x="0" y="11443866"/>
                </a:cubicBezTo>
                <a:cubicBezTo>
                  <a:pt x="-11287" y="11410059"/>
                  <a:pt x="13065" y="11321641"/>
                  <a:pt x="0" y="11281047"/>
                </a:cubicBezTo>
                <a:cubicBezTo>
                  <a:pt x="-13065" y="11240453"/>
                  <a:pt x="51426" y="11029367"/>
                  <a:pt x="0" y="10839109"/>
                </a:cubicBezTo>
                <a:cubicBezTo>
                  <a:pt x="-51426" y="10648851"/>
                  <a:pt x="12183" y="10311257"/>
                  <a:pt x="0" y="10118052"/>
                </a:cubicBezTo>
                <a:cubicBezTo>
                  <a:pt x="-12183" y="9924847"/>
                  <a:pt x="58207" y="9509803"/>
                  <a:pt x="0" y="9257436"/>
                </a:cubicBezTo>
                <a:cubicBezTo>
                  <a:pt x="-58207" y="9005069"/>
                  <a:pt x="5949" y="9128931"/>
                  <a:pt x="0" y="9094617"/>
                </a:cubicBezTo>
                <a:cubicBezTo>
                  <a:pt x="-5949" y="9060303"/>
                  <a:pt x="13027" y="8970809"/>
                  <a:pt x="0" y="8931798"/>
                </a:cubicBezTo>
                <a:cubicBezTo>
                  <a:pt x="-13027" y="8892787"/>
                  <a:pt x="59806" y="8495243"/>
                  <a:pt x="0" y="8350301"/>
                </a:cubicBezTo>
                <a:cubicBezTo>
                  <a:pt x="-59806" y="8205359"/>
                  <a:pt x="60992" y="7812463"/>
                  <a:pt x="0" y="7629244"/>
                </a:cubicBezTo>
                <a:cubicBezTo>
                  <a:pt x="-60992" y="7446025"/>
                  <a:pt x="44146" y="7394208"/>
                  <a:pt x="0" y="7187306"/>
                </a:cubicBezTo>
                <a:cubicBezTo>
                  <a:pt x="-44146" y="6980404"/>
                  <a:pt x="3521" y="6803545"/>
                  <a:pt x="0" y="6605809"/>
                </a:cubicBezTo>
                <a:cubicBezTo>
                  <a:pt x="-3521" y="6408073"/>
                  <a:pt x="56598" y="5918872"/>
                  <a:pt x="0" y="5745193"/>
                </a:cubicBezTo>
                <a:cubicBezTo>
                  <a:pt x="-56598" y="5571514"/>
                  <a:pt x="28507" y="5580942"/>
                  <a:pt x="0" y="5442814"/>
                </a:cubicBezTo>
                <a:cubicBezTo>
                  <a:pt x="-28507" y="5304686"/>
                  <a:pt x="19295" y="5084036"/>
                  <a:pt x="0" y="4861317"/>
                </a:cubicBezTo>
                <a:cubicBezTo>
                  <a:pt x="-19295" y="4638598"/>
                  <a:pt x="34011" y="4387382"/>
                  <a:pt x="0" y="4140260"/>
                </a:cubicBezTo>
                <a:cubicBezTo>
                  <a:pt x="-34011" y="3893138"/>
                  <a:pt x="22646" y="3843356"/>
                  <a:pt x="0" y="3698323"/>
                </a:cubicBezTo>
                <a:cubicBezTo>
                  <a:pt x="-22646" y="3553290"/>
                  <a:pt x="17278" y="3274778"/>
                  <a:pt x="0" y="2977266"/>
                </a:cubicBezTo>
                <a:cubicBezTo>
                  <a:pt x="-17278" y="2679754"/>
                  <a:pt x="3157" y="2666602"/>
                  <a:pt x="0" y="2535328"/>
                </a:cubicBezTo>
                <a:cubicBezTo>
                  <a:pt x="-3157" y="2404054"/>
                  <a:pt x="25432" y="2213299"/>
                  <a:pt x="0" y="2093390"/>
                </a:cubicBezTo>
                <a:cubicBezTo>
                  <a:pt x="-25432" y="1973481"/>
                  <a:pt x="38228" y="1827785"/>
                  <a:pt x="0" y="1651452"/>
                </a:cubicBezTo>
                <a:cubicBezTo>
                  <a:pt x="-38228" y="1475119"/>
                  <a:pt x="16985" y="1334574"/>
                  <a:pt x="0" y="1209514"/>
                </a:cubicBezTo>
                <a:cubicBezTo>
                  <a:pt x="-16985" y="1084454"/>
                  <a:pt x="69672" y="897675"/>
                  <a:pt x="0" y="628017"/>
                </a:cubicBezTo>
                <a:cubicBezTo>
                  <a:pt x="-69672" y="358359"/>
                  <a:pt x="58153" y="244521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EC7F20"/>
            </a:solidFill>
            <a:extLst>
              <a:ext uri="{C807C97D-BFC1-408E-A445-0C87EB9F89A2}">
                <ask:lineSketchStyleProps xmlns:ask="http://schemas.microsoft.com/office/drawing/2018/sketchyshapes" sd="2072721836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sz="17122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29D4F28-CC8C-A1CB-B41B-71B27EF8E953}"/>
              </a:ext>
            </a:extLst>
          </p:cNvPr>
          <p:cNvSpPr txBox="1">
            <a:spLocks/>
          </p:cNvSpPr>
          <p:nvPr/>
        </p:nvSpPr>
        <p:spPr>
          <a:xfrm>
            <a:off x="16256309" y="2746140"/>
            <a:ext cx="12628417" cy="85998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3400" b="1" dirty="0">
                <a:solidFill>
                  <a:srgbClr val="376E75"/>
                </a:solidFill>
                <a:latin typeface="+mj-lt"/>
              </a:rPr>
              <a:t>Names, affiliations, emails</a:t>
            </a:r>
            <a:endParaRPr lang="en-IE" sz="3400" b="1" dirty="0">
              <a:solidFill>
                <a:srgbClr val="376E75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C901335-C901-D082-0170-BD81E194E440}"/>
              </a:ext>
            </a:extLst>
          </p:cNvPr>
          <p:cNvSpPr txBox="1">
            <a:spLocks/>
          </p:cNvSpPr>
          <p:nvPr/>
        </p:nvSpPr>
        <p:spPr>
          <a:xfrm>
            <a:off x="16256309" y="908581"/>
            <a:ext cx="12892086" cy="162246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IE" sz="5400" b="1" u="sng" dirty="0">
                <a:solidFill>
                  <a:srgbClr val="EC7F20"/>
                </a:solidFill>
              </a:rPr>
              <a:t>Project title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6E82FF80-DA83-0918-F8FE-06D50A7290D6}"/>
              </a:ext>
            </a:extLst>
          </p:cNvPr>
          <p:cNvSpPr txBox="1">
            <a:spLocks/>
          </p:cNvSpPr>
          <p:nvPr/>
        </p:nvSpPr>
        <p:spPr>
          <a:xfrm>
            <a:off x="16256309" y="4103125"/>
            <a:ext cx="1831666" cy="85998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3400" b="1" dirty="0">
                <a:solidFill>
                  <a:srgbClr val="376E75"/>
                </a:solidFill>
                <a:latin typeface="+mj-lt"/>
              </a:rPr>
              <a:t>Photos</a:t>
            </a:r>
            <a:endParaRPr lang="en-IE" sz="3400" b="1" dirty="0">
              <a:solidFill>
                <a:srgbClr val="376E75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6B7C52E5-A32E-D74B-6F28-8E6EF1C643FC}"/>
              </a:ext>
            </a:extLst>
          </p:cNvPr>
          <p:cNvSpPr txBox="1">
            <a:spLocks/>
          </p:cNvSpPr>
          <p:nvPr/>
        </p:nvSpPr>
        <p:spPr>
          <a:xfrm>
            <a:off x="1698490" y="19416046"/>
            <a:ext cx="9688657" cy="85998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3400" b="1" dirty="0">
                <a:solidFill>
                  <a:srgbClr val="376E75"/>
                </a:solidFill>
                <a:latin typeface="+mj-lt"/>
              </a:rPr>
              <a:t>Logos of funding institutions and collaborators</a:t>
            </a:r>
            <a:endParaRPr lang="en-IE" sz="3400" b="1" dirty="0">
              <a:solidFill>
                <a:srgbClr val="376E75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3A8E424-BE9B-87A2-855A-75FC4EA27384}"/>
              </a:ext>
            </a:extLst>
          </p:cNvPr>
          <p:cNvSpPr/>
          <p:nvPr/>
        </p:nvSpPr>
        <p:spPr>
          <a:xfrm>
            <a:off x="-30" y="-1"/>
            <a:ext cx="16270901" cy="471295"/>
          </a:xfrm>
          <a:prstGeom prst="rect">
            <a:avLst/>
          </a:prstGeom>
          <a:solidFill>
            <a:srgbClr val="376E7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8065239-4902-8AFA-990A-F4BD014F7347}"/>
              </a:ext>
            </a:extLst>
          </p:cNvPr>
          <p:cNvSpPr/>
          <p:nvPr/>
        </p:nvSpPr>
        <p:spPr>
          <a:xfrm>
            <a:off x="16254130" y="-2"/>
            <a:ext cx="14023154" cy="471295"/>
          </a:xfrm>
          <a:prstGeom prst="rect">
            <a:avLst/>
          </a:prstGeom>
          <a:solidFill>
            <a:srgbClr val="EC7F20"/>
          </a:solidFill>
          <a:ln>
            <a:solidFill>
              <a:srgbClr val="EC7F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320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DWpuekjEqnY.nuFlHL.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6e5f9bd-9329-4120-af5d-d04fee2443b4">
      <Terms xmlns="http://schemas.microsoft.com/office/infopath/2007/PartnerControls"/>
    </lcf76f155ced4ddcb4097134ff3c332f>
    <TaxCatchAll xmlns="fa0c3d21-80eb-41c1-9ba7-b7dd03a0b0c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0DC135CBF3F14DAA211A0EDA2A56DE" ma:contentTypeVersion="19" ma:contentTypeDescription="Create a new document." ma:contentTypeScope="" ma:versionID="71373c86574ed7c1d8f01077e83bb160">
  <xsd:schema xmlns:xsd="http://www.w3.org/2001/XMLSchema" xmlns:xs="http://www.w3.org/2001/XMLSchema" xmlns:p="http://schemas.microsoft.com/office/2006/metadata/properties" xmlns:ns2="e6e5f9bd-9329-4120-af5d-d04fee2443b4" xmlns:ns3="fa0c3d21-80eb-41c1-9ba7-b7dd03a0b0cd" targetNamespace="http://schemas.microsoft.com/office/2006/metadata/properties" ma:root="true" ma:fieldsID="e1f99c6bbc41ff471e4fe7febc46582b" ns2:_="" ns3:_="">
    <xsd:import namespace="e6e5f9bd-9329-4120-af5d-d04fee2443b4"/>
    <xsd:import namespace="fa0c3d21-80eb-41c1-9ba7-b7dd03a0b0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e5f9bd-9329-4120-af5d-d04fee2443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5ee92b2f-d444-4214-abdd-12644e6e9e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0c3d21-80eb-41c1-9ba7-b7dd03a0b0c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ac403bf-6488-4210-a4d6-990398e62cb3}" ma:internalName="TaxCatchAll" ma:showField="CatchAllData" ma:web="fa0c3d21-80eb-41c1-9ba7-b7dd03a0b0c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571FBD-1B60-4626-A473-87C74978D8DC}">
  <ds:schemaRefs>
    <ds:schemaRef ds:uri="http://schemas.microsoft.com/office/2006/metadata/properties"/>
    <ds:schemaRef ds:uri="http://schemas.microsoft.com/office/infopath/2007/PartnerControls"/>
    <ds:schemaRef ds:uri="e6e5f9bd-9329-4120-af5d-d04fee2443b4"/>
    <ds:schemaRef ds:uri="fa0c3d21-80eb-41c1-9ba7-b7dd03a0b0cd"/>
  </ds:schemaRefs>
</ds:datastoreItem>
</file>

<file path=customXml/itemProps2.xml><?xml version="1.0" encoding="utf-8"?>
<ds:datastoreItem xmlns:ds="http://schemas.openxmlformats.org/officeDocument/2006/customXml" ds:itemID="{EB7649F7-F25C-4F4D-8416-85D5F4E31CA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E1D23BE-F671-4743-A2F2-FF347D245F38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4</Words>
  <Application>Microsoft Office PowerPoint</Application>
  <PresentationFormat>Custom</PresentationFormat>
  <Paragraphs>4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o Alfano</dc:creator>
  <cp:lastModifiedBy>ROZITA HASHEMI</cp:lastModifiedBy>
  <cp:revision>33</cp:revision>
  <dcterms:created xsi:type="dcterms:W3CDTF">2022-06-21T15:20:03Z</dcterms:created>
  <dcterms:modified xsi:type="dcterms:W3CDTF">2026-03-16T17:1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0DC135CBF3F14DAA211A0EDA2A56DE</vt:lpwstr>
  </property>
</Properties>
</file>